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3" r:id="rId2"/>
  </p:sldMasterIdLst>
  <p:notesMasterIdLst>
    <p:notesMasterId r:id="rId16"/>
  </p:notesMasterIdLst>
  <p:handoutMasterIdLst>
    <p:handoutMasterId r:id="rId17"/>
  </p:handoutMasterIdLst>
  <p:sldIdLst>
    <p:sldId id="310" r:id="rId3"/>
    <p:sldId id="466" r:id="rId4"/>
    <p:sldId id="503" r:id="rId5"/>
    <p:sldId id="504" r:id="rId6"/>
    <p:sldId id="506" r:id="rId7"/>
    <p:sldId id="507" r:id="rId8"/>
    <p:sldId id="508" r:id="rId9"/>
    <p:sldId id="509" r:id="rId10"/>
    <p:sldId id="510" r:id="rId11"/>
    <p:sldId id="511" r:id="rId12"/>
    <p:sldId id="512" r:id="rId13"/>
    <p:sldId id="513" r:id="rId14"/>
    <p:sldId id="514" r:id="rId15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F63F2711-2FC3-403A-A95F-83F80ACA1DB1}">
          <p14:sldIdLst>
            <p14:sldId id="310"/>
            <p14:sldId id="466"/>
            <p14:sldId id="503"/>
            <p14:sldId id="504"/>
            <p14:sldId id="506"/>
            <p14:sldId id="507"/>
            <p14:sldId id="508"/>
            <p14:sldId id="509"/>
            <p14:sldId id="510"/>
            <p14:sldId id="511"/>
            <p14:sldId id="512"/>
            <p14:sldId id="513"/>
            <p14:sldId id="5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956" userDrawn="1">
          <p15:clr>
            <a:srgbClr val="A4A3A4"/>
          </p15:clr>
        </p15:guide>
        <p15:guide id="4" pos="3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00000"/>
    <a:srgbClr val="BCA300"/>
    <a:srgbClr val="DF7D0A"/>
    <a:srgbClr val="F1573F"/>
    <a:srgbClr val="6A6B6D"/>
    <a:srgbClr val="0081A8"/>
    <a:srgbClr val="F68534"/>
    <a:srgbClr val="A3550F"/>
    <a:srgbClr val="6B350F"/>
    <a:srgbClr val="A75E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59" autoAdjust="0"/>
    <p:restoredTop sz="94140" autoAdjust="0"/>
  </p:normalViewPr>
  <p:slideViewPr>
    <p:cSldViewPr showGuides="1">
      <p:cViewPr varScale="1">
        <p:scale>
          <a:sx n="65" d="100"/>
          <a:sy n="65" d="100"/>
        </p:scale>
        <p:origin x="1382" y="43"/>
      </p:cViewPr>
      <p:guideLst>
        <p:guide orient="horz" pos="1620"/>
        <p:guide pos="2880"/>
        <p:guide orient="horz" pos="1956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BE584-66CD-42D1-8D23-14B925B2915C}" type="datetimeFigureOut">
              <a:rPr lang="zh-CN" altLang="en-US" smtClean="0"/>
              <a:t>2019/4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37D389-0CB0-4CF6-8942-696F6D6ED5E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83393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4F56B14-0C87-4DEC-8D58-FE1A88BE7712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B7EFBE5-25BB-450C-B144-5B0E16405D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415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开篇介绍沙特的</a:t>
            </a:r>
            <a:r>
              <a:rPr lang="en-US" altLang="zh-CN" dirty="0"/>
              <a:t>2030</a:t>
            </a:r>
            <a:r>
              <a:rPr lang="zh-CN" altLang="en-US" dirty="0"/>
              <a:t>愿景和皇家委员会及其职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89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华为在提供人才培养解决方案课程内容的分析和设计外，还为构建人才生态提供了平台支撑，其中的代表平台是华为</a:t>
            </a:r>
            <a:r>
              <a:rPr lang="en-US" altLang="zh-CN" dirty="0"/>
              <a:t>e</a:t>
            </a:r>
            <a:r>
              <a:rPr lang="zh-CN" altLang="en-US" dirty="0"/>
              <a:t>学云，它可提供</a:t>
            </a:r>
            <a:r>
              <a:rPr lang="en-US" altLang="zh-CN" dirty="0"/>
              <a:t>…</a:t>
            </a:r>
            <a:r>
              <a:rPr lang="zh-CN" altLang="en-US" dirty="0"/>
              <a:t>功能。因此，在拥有丰富智慧城市课程内容的基础上，利用华为</a:t>
            </a:r>
            <a:r>
              <a:rPr lang="en-US" altLang="zh-CN" dirty="0"/>
              <a:t>e</a:t>
            </a:r>
            <a:r>
              <a:rPr lang="zh-CN" altLang="en-US" dirty="0"/>
              <a:t>学云平台系统，帮助智慧城市人才生态的快速构建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11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3588357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沙特</a:t>
            </a:r>
            <a:r>
              <a:rPr lang="en-US" altLang="zh-CN" dirty="0"/>
              <a:t>2030</a:t>
            </a:r>
            <a:r>
              <a:rPr lang="zh-CN" altLang="en-US" dirty="0"/>
              <a:t>愿景指引下，沙特延布智慧城市的发展走在了沙特面向未来发展的最前沿，截至目前，延布智慧城市的建设经历了三个阶段：第一阶段</a:t>
            </a:r>
            <a:r>
              <a:rPr lang="en-US" altLang="zh-CN" dirty="0"/>
              <a:t>,….</a:t>
            </a:r>
            <a:r>
              <a:rPr lang="zh-CN" altLang="en-US" dirty="0"/>
              <a:t>第二阶段</a:t>
            </a:r>
            <a:r>
              <a:rPr lang="en-US" altLang="zh-CN" dirty="0"/>
              <a:t>…..</a:t>
            </a:r>
            <a:r>
              <a:rPr lang="zh-CN" altLang="en-US" dirty="0"/>
              <a:t>第三阶段</a:t>
            </a:r>
            <a:r>
              <a:rPr lang="en-US" altLang="zh-CN" dirty="0"/>
              <a:t>…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52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延布智慧城市经过三个阶段建设后，已经呈现出较多实际成果，如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4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1918163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随着智慧城市建设的不断深入，各类综合系统平台的不断使用，对相应智慧城市人才的需求越来越大，综合能力要求也越来越高，已成为我们当前面临的挑战，同时也可给我们创造了解决这个挑战的宝贵机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5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373151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面对上述智慧城市发展带来的人才培养挑战，我们通过华为提供</a:t>
            </a:r>
            <a:r>
              <a:rPr lang="en-US" altLang="zh-CN" dirty="0"/>
              <a:t>ICT</a:t>
            </a:r>
            <a:r>
              <a:rPr lang="zh-CN" altLang="en-US" dirty="0"/>
              <a:t>人才生态方案来解决这个问题，建立和形成智慧城市相关人才生态，满足智慧城市发展的需求。在华为的人才生态中通过</a:t>
            </a:r>
            <a:r>
              <a:rPr lang="en-US" altLang="zh-CN" dirty="0"/>
              <a:t>ICT</a:t>
            </a:r>
            <a:r>
              <a:rPr lang="zh-CN" altLang="en-US" dirty="0"/>
              <a:t>学院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6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2219520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当前我们延布的</a:t>
            </a:r>
            <a:r>
              <a:rPr lang="en-US" altLang="zh-CN" dirty="0"/>
              <a:t>YTI</a:t>
            </a:r>
            <a:r>
              <a:rPr lang="zh-CN" altLang="en-US" dirty="0"/>
              <a:t>大学已与华为签订了</a:t>
            </a:r>
            <a:r>
              <a:rPr lang="en-US" altLang="zh-CN" dirty="0"/>
              <a:t>ICT</a:t>
            </a:r>
            <a:r>
              <a:rPr lang="zh-CN" altLang="en-US" dirty="0"/>
              <a:t>学院合作，并从</a:t>
            </a:r>
            <a:r>
              <a:rPr lang="en-US" altLang="zh-CN" dirty="0"/>
              <a:t>2017.5</a:t>
            </a:r>
            <a:r>
              <a:rPr lang="zh-CN" altLang="en-US" dirty="0"/>
              <a:t>开始稳步推进合作内容和范围，当前网络和云计算课程已经正式开课，每期都有众多学员积极参加。当然智慧城市人才培养方案，也正和华为进行着紧密合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7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2482169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在智慧城市人才发展方案中，我们与华为深入合作，密切沟通。首先分析出了智慧城市人才所需的几种角色，包含：</a:t>
            </a:r>
            <a:r>
              <a:rPr lang="en-US" altLang="zh-CN" dirty="0"/>
              <a:t>Application Operation Staff</a:t>
            </a:r>
            <a:r>
              <a:rPr lang="zh-CN" altLang="en-US" dirty="0"/>
              <a:t>，</a:t>
            </a:r>
            <a:r>
              <a:rPr lang="en-US" altLang="zh-CN" dirty="0"/>
              <a:t>ICT Engineers,</a:t>
            </a:r>
            <a:r>
              <a:rPr lang="en-US" altLang="zh-CN" baseline="0" dirty="0"/>
              <a:t> Solution Architect and Manger</a:t>
            </a:r>
            <a:r>
              <a:rPr lang="zh-CN" altLang="en-US" baseline="0" dirty="0"/>
              <a:t>，根据人才角色不同，他们对智慧城市培训解决方案中的培训内容也不相同。。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8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29740785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分析清楚智慧城市运营和运维所需的几种角色外，在对智慧城市解决方案充分理解的基础上，将智慧城市培训内容主要分为：</a:t>
            </a:r>
            <a:r>
              <a:rPr lang="en-US" altLang="zh-CN" dirty="0"/>
              <a:t>Overview,</a:t>
            </a:r>
            <a:r>
              <a:rPr lang="en-US" altLang="zh-CN" baseline="0" dirty="0"/>
              <a:t> Trend &amp; Solution, Operation, Configuration &amp; Maintenance, Design and Management </a:t>
            </a:r>
            <a:r>
              <a:rPr lang="zh-CN" altLang="en-US" baseline="0" dirty="0"/>
              <a:t>共</a:t>
            </a:r>
            <a:r>
              <a:rPr lang="en-US" altLang="zh-CN" baseline="0" dirty="0"/>
              <a:t>6</a:t>
            </a:r>
            <a:r>
              <a:rPr lang="zh-CN" altLang="en-US" baseline="0" dirty="0"/>
              <a:t>个方面。同时遵循从</a:t>
            </a:r>
            <a:r>
              <a:rPr lang="en-US" altLang="zh-CN" baseline="0" dirty="0"/>
              <a:t>Technical Enablement, Product Enablement, Application Enablement, Solution Enablement and Cyber Security Enablement</a:t>
            </a:r>
            <a:r>
              <a:rPr lang="zh-CN" altLang="en-US" baseline="0" dirty="0"/>
              <a:t>的原则来进行课程内容的设计，保证了课程的质量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9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5361140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通过对智慧城市解决方案中所需运营和运维人员的角色分析，以及智慧城市培训内容的分类，就可以得出智慧城市人才培养解决方案，如图：从下到上，分别为</a:t>
            </a:r>
            <a:r>
              <a:rPr lang="en-US" altLang="zh-CN" dirty="0"/>
              <a:t>ICT Engineer,</a:t>
            </a:r>
            <a:r>
              <a:rPr lang="en-US" altLang="zh-CN" baseline="0" dirty="0"/>
              <a:t> Solution Staff and Management Staff, </a:t>
            </a:r>
            <a:r>
              <a:rPr lang="zh-CN" altLang="en-US" baseline="0" dirty="0"/>
              <a:t>根据他们角色的职责不同，培训课程内容有所差别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EFBE5-25BB-450C-B144-5B0E16405DCF}" type="slidenum">
              <a:rPr lang="en-US" smtClean="0">
                <a:solidFill>
                  <a:prstClr val="black"/>
                </a:solidFill>
                <a:ea typeface="SimSun"/>
              </a:rPr>
              <a:pPr/>
              <a:t>10</a:t>
            </a:fld>
            <a:endParaRPr lang="en-US">
              <a:solidFill>
                <a:prstClr val="black"/>
              </a:solidFill>
              <a:ea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1864059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5255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24150"/>
            <a:ext cx="6400800" cy="571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 marL="34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858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arallelogram 5"/>
          <p:cNvSpPr/>
          <p:nvPr userDrawn="1"/>
        </p:nvSpPr>
        <p:spPr>
          <a:xfrm>
            <a:off x="2" y="209550"/>
            <a:ext cx="8197013" cy="449392"/>
          </a:xfrm>
          <a:prstGeom prst="parallelogram">
            <a:avLst>
              <a:gd name="adj" fmla="val 111797"/>
            </a:avLst>
          </a:prstGeom>
          <a:gradFill flip="none" rotWithShape="1">
            <a:gsLst>
              <a:gs pos="4000">
                <a:schemeClr val="accent5">
                  <a:lumMod val="75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  <a:gs pos="59000">
                <a:srgbClr val="713A14"/>
              </a:gs>
              <a:gs pos="84000">
                <a:srgbClr val="A35722"/>
              </a:gs>
              <a:gs pos="34000">
                <a:schemeClr val="accent5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GB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745" y="176930"/>
            <a:ext cx="821999" cy="5797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94" y="267871"/>
            <a:ext cx="736596" cy="34440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422401" y="209550"/>
            <a:ext cx="60959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-1" y="5118100"/>
            <a:ext cx="9143999" cy="0"/>
          </a:xfrm>
          <a:prstGeom prst="line">
            <a:avLst/>
          </a:prstGeom>
          <a:ln w="38100">
            <a:gradFill>
              <a:gsLst>
                <a:gs pos="39000">
                  <a:schemeClr val="accent5">
                    <a:lumMod val="75000"/>
                  </a:schemeClr>
                </a:gs>
                <a:gs pos="69000">
                  <a:schemeClr val="accent5">
                    <a:lumMod val="60000"/>
                    <a:lumOff val="40000"/>
                  </a:schemeClr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92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04793"/>
            <a:ext cx="5111751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861" indent="0">
              <a:buNone/>
              <a:defRPr sz="900"/>
            </a:lvl2pPr>
            <a:lvl3pPr marL="685722" indent="0">
              <a:buNone/>
              <a:defRPr sz="750"/>
            </a:lvl3pPr>
            <a:lvl4pPr marL="1028583" indent="0">
              <a:buNone/>
              <a:defRPr sz="675"/>
            </a:lvl4pPr>
            <a:lvl5pPr marL="1371444" indent="0">
              <a:buNone/>
              <a:defRPr sz="675"/>
            </a:lvl5pPr>
            <a:lvl6pPr marL="1714305" indent="0">
              <a:buNone/>
              <a:defRPr sz="675"/>
            </a:lvl6pPr>
            <a:lvl7pPr marL="2057166" indent="0">
              <a:buNone/>
              <a:defRPr sz="675"/>
            </a:lvl7pPr>
            <a:lvl8pPr marL="2400027" indent="0">
              <a:buNone/>
              <a:defRPr sz="675"/>
            </a:lvl8pPr>
            <a:lvl9pPr marL="2742888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27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61" indent="0">
              <a:buNone/>
              <a:defRPr sz="2100"/>
            </a:lvl2pPr>
            <a:lvl3pPr marL="685722" indent="0">
              <a:buNone/>
              <a:defRPr sz="1800"/>
            </a:lvl3pPr>
            <a:lvl4pPr marL="1028583" indent="0">
              <a:buNone/>
              <a:defRPr sz="1500"/>
            </a:lvl4pPr>
            <a:lvl5pPr marL="1371444" indent="0">
              <a:buNone/>
              <a:defRPr sz="1500"/>
            </a:lvl5pPr>
            <a:lvl6pPr marL="1714305" indent="0">
              <a:buNone/>
              <a:defRPr sz="1500"/>
            </a:lvl6pPr>
            <a:lvl7pPr marL="2057166" indent="0">
              <a:buNone/>
              <a:defRPr sz="1500"/>
            </a:lvl7pPr>
            <a:lvl8pPr marL="2400027" indent="0">
              <a:buNone/>
              <a:defRPr sz="1500"/>
            </a:lvl8pPr>
            <a:lvl9pPr marL="2742888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1" indent="0">
              <a:buNone/>
              <a:defRPr sz="900"/>
            </a:lvl2pPr>
            <a:lvl3pPr marL="685722" indent="0">
              <a:buNone/>
              <a:defRPr sz="750"/>
            </a:lvl3pPr>
            <a:lvl4pPr marL="1028583" indent="0">
              <a:buNone/>
              <a:defRPr sz="675"/>
            </a:lvl4pPr>
            <a:lvl5pPr marL="1371444" indent="0">
              <a:buNone/>
              <a:defRPr sz="675"/>
            </a:lvl5pPr>
            <a:lvl6pPr marL="1714305" indent="0">
              <a:buNone/>
              <a:defRPr sz="675"/>
            </a:lvl6pPr>
            <a:lvl7pPr marL="2057166" indent="0">
              <a:buNone/>
              <a:defRPr sz="675"/>
            </a:lvl7pPr>
            <a:lvl8pPr marL="2400027" indent="0">
              <a:buNone/>
              <a:defRPr sz="675"/>
            </a:lvl8pPr>
            <a:lvl9pPr marL="2742888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488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516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85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789609"/>
              </p:ext>
            </p:extLst>
          </p:nvPr>
        </p:nvGraphicFramePr>
        <p:xfrm>
          <a:off x="1486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6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75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065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rtl="0"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30969" indent="-130969" algn="l" rtl="0">
              <a:buClr>
                <a:schemeClr val="bg2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71434" indent="-128573" algn="l" rtl="0">
              <a:buClr>
                <a:schemeClr val="bg2"/>
              </a:buCl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814295" indent="-128573" algn="l" rtl="0">
              <a:buClr>
                <a:schemeClr val="bg2"/>
              </a:buClr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159669" indent="-130969" algn="l" rtl="0">
              <a:buClr>
                <a:schemeClr val="bg2"/>
              </a:buCl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buClr>
                <a:schemeClr val="bg2"/>
              </a:buCl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57200" y="751267"/>
            <a:ext cx="8686800" cy="28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553920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137213"/>
              </p:ext>
            </p:extLst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816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4186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18659" y="96479"/>
            <a:ext cx="8371656" cy="562563"/>
          </a:xfrm>
        </p:spPr>
        <p:txBody>
          <a:bodyPr/>
          <a:lstStyle>
            <a:lvl1pPr>
              <a:defRPr spc="563" baseline="0"/>
            </a:lvl1pPr>
          </a:lstStyle>
          <a:p>
            <a:r>
              <a:rPr lang="en-US" altLang="ja-JP" dirty="0"/>
              <a:t>SLIDE TITLE HERE</a:t>
            </a:r>
            <a:endParaRPr kumimoji="1" lang="ja-JP" altLang="en-US" dirty="0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>
          <a:xfrm>
            <a:off x="4707030" y="4795684"/>
            <a:ext cx="3888769" cy="273844"/>
          </a:xfrm>
        </p:spPr>
        <p:txBody>
          <a:bodyPr/>
          <a:lstStyle/>
          <a:p>
            <a:r>
              <a:rPr lang="en-US" dirty="0"/>
              <a:t>The Power of PowerPoint | thepopp.com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8686720" y="4795684"/>
            <a:ext cx="453685" cy="273844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1574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6"/>
          <p:cNvGrpSpPr/>
          <p:nvPr/>
        </p:nvGrpSpPr>
        <p:grpSpPr>
          <a:xfrm>
            <a:off x="-4" y="42"/>
            <a:ext cx="7072431" cy="1327315"/>
            <a:chOff x="-4" y="40"/>
            <a:chExt cx="7072430" cy="1327315"/>
          </a:xfrm>
        </p:grpSpPr>
        <p:sp>
          <p:nvSpPr>
            <p:cNvPr id="83" name="Google Shape;83;p6"/>
            <p:cNvSpPr/>
            <p:nvPr/>
          </p:nvSpPr>
          <p:spPr>
            <a:xfrm>
              <a:off x="6292649" y="126425"/>
              <a:ext cx="779700" cy="259800"/>
            </a:xfrm>
            <a:prstGeom prst="triangle">
              <a:avLst>
                <a:gd name="adj" fmla="val 32425"/>
              </a:avLst>
            </a:prstGeom>
            <a:solidFill>
              <a:srgbClr val="263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50">
                <a:latin typeface="Arvo"/>
                <a:ea typeface="Arvo"/>
                <a:cs typeface="Arvo"/>
                <a:sym typeface="Arvo"/>
              </a:endParaRPr>
            </a:p>
          </p:txBody>
        </p:sp>
        <p:grpSp>
          <p:nvGrpSpPr>
            <p:cNvPr id="84" name="Google Shape;84;p6"/>
            <p:cNvGrpSpPr/>
            <p:nvPr/>
          </p:nvGrpSpPr>
          <p:grpSpPr>
            <a:xfrm rot="10800000" flipH="1">
              <a:off x="3" y="40"/>
              <a:ext cx="6756168" cy="1327315"/>
              <a:chOff x="-2168138" y="330075"/>
              <a:chExt cx="8650663" cy="1699506"/>
            </a:xfrm>
          </p:grpSpPr>
          <p:sp>
            <p:nvSpPr>
              <p:cNvPr id="85" name="Google Shape;85;p6"/>
              <p:cNvSpPr/>
              <p:nvPr/>
            </p:nvSpPr>
            <p:spPr>
              <a:xfrm>
                <a:off x="-2168138" y="330081"/>
                <a:ext cx="6958200" cy="1699500"/>
              </a:xfrm>
              <a:prstGeom prst="rect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86" name="Google Shape;86;p6"/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  <p:grpSp>
          <p:nvGrpSpPr>
            <p:cNvPr id="87" name="Google Shape;87;p6"/>
            <p:cNvGrpSpPr/>
            <p:nvPr/>
          </p:nvGrpSpPr>
          <p:grpSpPr>
            <a:xfrm rot="10800000" flipH="1">
              <a:off x="-4" y="381007"/>
              <a:ext cx="7072430" cy="771744"/>
              <a:chOff x="-9092084" y="330075"/>
              <a:chExt cx="15574609" cy="1699501"/>
            </a:xfrm>
          </p:grpSpPr>
          <p:sp>
            <p:nvSpPr>
              <p:cNvPr id="88" name="Google Shape;88;p6"/>
              <p:cNvSpPr/>
              <p:nvPr/>
            </p:nvSpPr>
            <p:spPr>
              <a:xfrm>
                <a:off x="-9092084" y="330076"/>
                <a:ext cx="13882200" cy="1699500"/>
              </a:xfrm>
              <a:prstGeom prst="rect">
                <a:avLst/>
              </a:prstGeom>
              <a:solidFill>
                <a:srgbClr val="3F53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89" name="Google Shape;89;p6"/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solidFill>
                <a:srgbClr val="3F53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</p:grpSp>
      <p:grpSp>
        <p:nvGrpSpPr>
          <p:cNvPr id="90" name="Google Shape;90;p6"/>
          <p:cNvGrpSpPr/>
          <p:nvPr/>
        </p:nvGrpSpPr>
        <p:grpSpPr>
          <a:xfrm>
            <a:off x="6946842" y="4472725"/>
            <a:ext cx="2202831" cy="670795"/>
            <a:chOff x="5575242" y="4472723"/>
            <a:chExt cx="2202830" cy="670795"/>
          </a:xfrm>
        </p:grpSpPr>
        <p:sp>
          <p:nvSpPr>
            <p:cNvPr id="91" name="Google Shape;91;p6"/>
            <p:cNvSpPr/>
            <p:nvPr/>
          </p:nvSpPr>
          <p:spPr>
            <a:xfrm rot="10800000">
              <a:off x="5575242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D26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50"/>
            </a:p>
          </p:txBody>
        </p:sp>
        <p:grpSp>
          <p:nvGrpSpPr>
            <p:cNvPr id="92" name="Google Shape;92;p6"/>
            <p:cNvGrpSpPr/>
            <p:nvPr/>
          </p:nvGrpSpPr>
          <p:grpSpPr>
            <a:xfrm flipH="1">
              <a:off x="5734850" y="4472723"/>
              <a:ext cx="2040837" cy="670795"/>
              <a:chOff x="1297954" y="330075"/>
              <a:chExt cx="5169293" cy="1699506"/>
            </a:xfrm>
          </p:grpSpPr>
          <p:sp>
            <p:nvSpPr>
              <p:cNvPr id="93" name="Google Shape;93;p6"/>
              <p:cNvSpPr/>
              <p:nvPr/>
            </p:nvSpPr>
            <p:spPr>
              <a:xfrm>
                <a:off x="1297954" y="330081"/>
                <a:ext cx="3476700" cy="1699500"/>
              </a:xfrm>
              <a:prstGeom prst="rect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/>
              </a:p>
            </p:txBody>
          </p:sp>
          <p:sp>
            <p:nvSpPr>
              <p:cNvPr id="94" name="Google Shape;94;p6"/>
              <p:cNvSpPr/>
              <p:nvPr/>
            </p:nvSpPr>
            <p:spPr>
              <a:xfrm>
                <a:off x="4767747" y="330075"/>
                <a:ext cx="1699500" cy="1699500"/>
              </a:xfrm>
              <a:prstGeom prst="rtTriangle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/>
              </a:p>
            </p:txBody>
          </p:sp>
        </p:grpSp>
        <p:grpSp>
          <p:nvGrpSpPr>
            <p:cNvPr id="95" name="Google Shape;95;p6"/>
            <p:cNvGrpSpPr/>
            <p:nvPr/>
          </p:nvGrpSpPr>
          <p:grpSpPr>
            <a:xfrm flipH="1">
              <a:off x="5578209" y="4646738"/>
              <a:ext cx="2199863" cy="304563"/>
              <a:chOff x="-5827153" y="330075"/>
              <a:chExt cx="12276019" cy="1699569"/>
            </a:xfrm>
          </p:grpSpPr>
          <p:sp>
            <p:nvSpPr>
              <p:cNvPr id="96" name="Google Shape;96;p6"/>
              <p:cNvSpPr/>
              <p:nvPr/>
            </p:nvSpPr>
            <p:spPr>
              <a:xfrm>
                <a:off x="-5827153" y="330144"/>
                <a:ext cx="10612200" cy="1699500"/>
              </a:xfrm>
              <a:prstGeom prst="rect">
                <a:avLst/>
              </a:prstGeom>
              <a:solidFill>
                <a:srgbClr val="FF98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/>
              </a:p>
            </p:txBody>
          </p:sp>
          <p:sp>
            <p:nvSpPr>
              <p:cNvPr id="97" name="Google Shape;97;p6"/>
              <p:cNvSpPr/>
              <p:nvPr/>
            </p:nvSpPr>
            <p:spPr>
              <a:xfrm>
                <a:off x="4749366" y="330075"/>
                <a:ext cx="1699500" cy="1699500"/>
              </a:xfrm>
              <a:prstGeom prst="rtTriangle">
                <a:avLst/>
              </a:prstGeom>
              <a:solidFill>
                <a:srgbClr val="FF98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/>
              </a:p>
            </p:txBody>
          </p:sp>
        </p:grpSp>
      </p:grpSp>
      <p:sp>
        <p:nvSpPr>
          <p:cNvPr id="98" name="Google Shape;98;p6"/>
          <p:cNvSpPr txBox="1">
            <a:spLocks noGrp="1"/>
          </p:cNvSpPr>
          <p:nvPr>
            <p:ph type="title"/>
          </p:nvPr>
        </p:nvSpPr>
        <p:spPr>
          <a:xfrm>
            <a:off x="814275" y="392575"/>
            <a:ext cx="5258400" cy="7662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"/>
          <p:cNvSpPr txBox="1">
            <a:spLocks noGrp="1"/>
          </p:cNvSpPr>
          <p:nvPr>
            <p:ph type="body" idx="1"/>
          </p:nvPr>
        </p:nvSpPr>
        <p:spPr>
          <a:xfrm>
            <a:off x="814275" y="1537988"/>
            <a:ext cx="3378300" cy="27243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342900" lvl="0" indent="-266700">
              <a:spcBef>
                <a:spcPts val="450"/>
              </a:spcBef>
              <a:spcAft>
                <a:spcPts val="0"/>
              </a:spcAft>
              <a:buSzPts val="2000"/>
              <a:buChar char="▰"/>
              <a:defRPr sz="1500"/>
            </a:lvl1pPr>
            <a:lvl2pPr marL="685800" lvl="1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2pPr>
            <a:lvl3pPr marL="1028700" lvl="2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3pPr>
            <a:lvl4pPr marL="1371600" lvl="3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4pPr>
            <a:lvl5pPr marL="1714500" lvl="4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5pPr>
            <a:lvl6pPr marL="2057400" lvl="5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6pPr>
            <a:lvl7pPr marL="2400300" lvl="6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7pPr>
            <a:lvl8pPr marL="2743200" lvl="7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8pPr>
            <a:lvl9pPr marL="3086100" lvl="8" indent="-266700">
              <a:spcBef>
                <a:spcPts val="750"/>
              </a:spcBef>
              <a:spcAft>
                <a:spcPts val="750"/>
              </a:spcAft>
              <a:buSzPts val="2000"/>
              <a:buChar char="▻"/>
              <a:defRPr sz="1500"/>
            </a:lvl9pPr>
          </a:lstStyle>
          <a:p>
            <a:endParaRPr/>
          </a:p>
        </p:txBody>
      </p:sp>
      <p:sp>
        <p:nvSpPr>
          <p:cNvPr id="100" name="Google Shape;100;p6"/>
          <p:cNvSpPr txBox="1">
            <a:spLocks noGrp="1"/>
          </p:cNvSpPr>
          <p:nvPr>
            <p:ph type="body" idx="2"/>
          </p:nvPr>
        </p:nvSpPr>
        <p:spPr>
          <a:xfrm>
            <a:off x="4396123" y="1537988"/>
            <a:ext cx="3378300" cy="27243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342900" lvl="0" indent="-266700">
              <a:spcBef>
                <a:spcPts val="450"/>
              </a:spcBef>
              <a:spcAft>
                <a:spcPts val="0"/>
              </a:spcAft>
              <a:buSzPts val="2000"/>
              <a:buChar char="▰"/>
              <a:defRPr sz="1500"/>
            </a:lvl1pPr>
            <a:lvl2pPr marL="685800" lvl="1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2pPr>
            <a:lvl3pPr marL="1028700" lvl="2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3pPr>
            <a:lvl4pPr marL="1371600" lvl="3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4pPr>
            <a:lvl5pPr marL="1714500" lvl="4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5pPr>
            <a:lvl6pPr marL="2057400" lvl="5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6pPr>
            <a:lvl7pPr marL="2400300" lvl="6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7pPr>
            <a:lvl8pPr marL="2743200" lvl="7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8pPr>
            <a:lvl9pPr marL="3086100" lvl="8" indent="-266700">
              <a:spcBef>
                <a:spcPts val="750"/>
              </a:spcBef>
              <a:spcAft>
                <a:spcPts val="750"/>
              </a:spcAft>
              <a:buSzPts val="2000"/>
              <a:buChar char="▻"/>
              <a:defRPr sz="1500"/>
            </a:lvl9pPr>
          </a:lstStyle>
          <a:p>
            <a:endParaRPr/>
          </a:p>
        </p:txBody>
      </p:sp>
      <p:sp>
        <p:nvSpPr>
          <p:cNvPr id="101" name="Google Shape;101;p6"/>
          <p:cNvSpPr txBox="1">
            <a:spLocks noGrp="1"/>
          </p:cNvSpPr>
          <p:nvPr>
            <p:ph type="sldNum" idx="12"/>
          </p:nvPr>
        </p:nvSpPr>
        <p:spPr>
          <a:xfrm>
            <a:off x="7618000" y="4636500"/>
            <a:ext cx="1487400" cy="31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384948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5255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24150"/>
            <a:ext cx="6400800" cy="571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 marL="34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5503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rtl="0"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30969" indent="-130969" algn="l" rtl="0">
              <a:buClr>
                <a:schemeClr val="bg2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71434" indent="-128573" algn="l" rtl="0">
              <a:buClr>
                <a:schemeClr val="bg2"/>
              </a:buCl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814295" indent="-128573" algn="l" rtl="0">
              <a:buClr>
                <a:schemeClr val="bg2"/>
              </a:buClr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159669" indent="-130969" algn="l" rtl="0">
              <a:buClr>
                <a:schemeClr val="bg2"/>
              </a:buCl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buClr>
                <a:schemeClr val="bg2"/>
              </a:buCl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7200" y="751267"/>
            <a:ext cx="8686800" cy="28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517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"/>
            <a:ext cx="9144000" cy="6362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rtl="0"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30969" indent="-130969" algn="l" rtl="0">
              <a:buClr>
                <a:schemeClr val="bg2"/>
              </a:buClr>
              <a:defRPr sz="1500">
                <a:solidFill>
                  <a:schemeClr val="tx2"/>
                </a:solidFill>
              </a:defRPr>
            </a:lvl1pPr>
            <a:lvl2pPr marL="471434" indent="-128573" algn="l" rtl="0">
              <a:buClr>
                <a:schemeClr val="bg2"/>
              </a:buClr>
              <a:defRPr sz="1350">
                <a:solidFill>
                  <a:schemeClr val="tx2"/>
                </a:solidFill>
              </a:defRPr>
            </a:lvl2pPr>
            <a:lvl3pPr marL="814295" indent="-128573" algn="l" rtl="0">
              <a:buClr>
                <a:schemeClr val="bg2"/>
              </a:buClr>
              <a:defRPr sz="1200">
                <a:solidFill>
                  <a:schemeClr val="tx2"/>
                </a:solidFill>
              </a:defRPr>
            </a:lvl3pPr>
            <a:lvl4pPr algn="l" rtl="0">
              <a:buClr>
                <a:schemeClr val="bg2"/>
              </a:buClr>
              <a:defRPr sz="1050">
                <a:solidFill>
                  <a:schemeClr val="tx2"/>
                </a:solidFill>
              </a:defRPr>
            </a:lvl4pPr>
            <a:lvl5pPr algn="l" rtl="0">
              <a:buClr>
                <a:schemeClr val="bg2"/>
              </a:buCl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905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33147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5"/>
          </p:nvPr>
        </p:nvSpPr>
        <p:spPr>
          <a:xfrm>
            <a:off x="61722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958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>
              <a:defRPr sz="2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71431" indent="-171431">
              <a:buClr>
                <a:schemeClr val="accent1"/>
              </a:buClr>
              <a:defRPr sz="1500">
                <a:solidFill>
                  <a:schemeClr val="tx2"/>
                </a:solidFill>
              </a:defRPr>
            </a:lvl1pPr>
            <a:lvl2pPr marL="471434" indent="-128573">
              <a:buClr>
                <a:schemeClr val="accent1"/>
              </a:buClr>
              <a:defRPr sz="1350">
                <a:solidFill>
                  <a:schemeClr val="tx2"/>
                </a:solidFill>
              </a:defRPr>
            </a:lvl2pPr>
            <a:lvl3pPr marL="814295" indent="-128573"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05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666754"/>
            <a:ext cx="86868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54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"/>
            <a:ext cx="9144000" cy="6362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rtl="0"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30969" indent="-130969" algn="l" rtl="0">
              <a:buClr>
                <a:schemeClr val="bg2"/>
              </a:buClr>
              <a:defRPr sz="1500">
                <a:solidFill>
                  <a:schemeClr val="tx2"/>
                </a:solidFill>
              </a:defRPr>
            </a:lvl1pPr>
            <a:lvl2pPr marL="471434" indent="-128573" algn="l" rtl="0">
              <a:buClr>
                <a:schemeClr val="bg2"/>
              </a:buClr>
              <a:defRPr sz="1350">
                <a:solidFill>
                  <a:schemeClr val="tx2"/>
                </a:solidFill>
              </a:defRPr>
            </a:lvl2pPr>
            <a:lvl3pPr marL="814295" indent="-128573" algn="l" rtl="0">
              <a:buClr>
                <a:schemeClr val="bg2"/>
              </a:buClr>
              <a:defRPr sz="1200">
                <a:solidFill>
                  <a:schemeClr val="tx2"/>
                </a:solidFill>
              </a:defRPr>
            </a:lvl3pPr>
            <a:lvl4pPr algn="l" rtl="0">
              <a:buClr>
                <a:schemeClr val="bg2"/>
              </a:buClr>
              <a:defRPr sz="1050">
                <a:solidFill>
                  <a:schemeClr val="tx2"/>
                </a:solidFill>
              </a:defRPr>
            </a:lvl4pPr>
            <a:lvl5pPr algn="l" rtl="0">
              <a:buClr>
                <a:schemeClr val="bg2"/>
              </a:buCl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7907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5" y="514350"/>
            <a:ext cx="3697287" cy="2057400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5" y="2800350"/>
            <a:ext cx="3849687" cy="152400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61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44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30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1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0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8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75"/>
            </a:lvl1pPr>
          </a:lstStyle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75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75"/>
            </a:lvl1pPr>
          </a:lstStyle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7254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35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35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061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344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arallelogram 5"/>
          <p:cNvSpPr/>
          <p:nvPr userDrawn="1"/>
        </p:nvSpPr>
        <p:spPr>
          <a:xfrm>
            <a:off x="2" y="209550"/>
            <a:ext cx="8197013" cy="449392"/>
          </a:xfrm>
          <a:prstGeom prst="parallelogram">
            <a:avLst>
              <a:gd name="adj" fmla="val 111797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GB" sz="36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745" y="176930"/>
            <a:ext cx="821999" cy="5797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94" y="267871"/>
            <a:ext cx="736596" cy="34440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422401" y="209550"/>
            <a:ext cx="60959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2" y="5111402"/>
            <a:ext cx="9143999" cy="0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73834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arallelogram 5"/>
          <p:cNvSpPr/>
          <p:nvPr userDrawn="1"/>
        </p:nvSpPr>
        <p:spPr>
          <a:xfrm>
            <a:off x="2" y="209550"/>
            <a:ext cx="8197013" cy="449392"/>
          </a:xfrm>
          <a:prstGeom prst="parallelogram">
            <a:avLst>
              <a:gd name="adj" fmla="val 111797"/>
            </a:avLst>
          </a:prstGeom>
          <a:gradFill flip="none" rotWithShape="1">
            <a:gsLst>
              <a:gs pos="4000">
                <a:schemeClr val="accent5">
                  <a:lumMod val="75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  <a:gs pos="59000">
                <a:srgbClr val="713A14"/>
              </a:gs>
              <a:gs pos="84000">
                <a:srgbClr val="A35722"/>
              </a:gs>
              <a:gs pos="34000">
                <a:schemeClr val="accent5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GB" sz="36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745" y="176930"/>
            <a:ext cx="821999" cy="5797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94" y="267871"/>
            <a:ext cx="736596" cy="34440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422401" y="209550"/>
            <a:ext cx="60959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-1" y="5118100"/>
            <a:ext cx="9143999" cy="0"/>
          </a:xfrm>
          <a:prstGeom prst="line">
            <a:avLst/>
          </a:prstGeom>
          <a:ln w="38100">
            <a:gradFill>
              <a:gsLst>
                <a:gs pos="39000">
                  <a:schemeClr val="accent5">
                    <a:lumMod val="75000"/>
                  </a:schemeClr>
                </a:gs>
                <a:gs pos="69000">
                  <a:schemeClr val="accent5">
                    <a:lumMod val="60000"/>
                    <a:lumOff val="40000"/>
                  </a:schemeClr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26135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04793"/>
            <a:ext cx="5111751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861" indent="0">
              <a:buNone/>
              <a:defRPr sz="900"/>
            </a:lvl2pPr>
            <a:lvl3pPr marL="685722" indent="0">
              <a:buNone/>
              <a:defRPr sz="750"/>
            </a:lvl3pPr>
            <a:lvl4pPr marL="1028583" indent="0">
              <a:buNone/>
              <a:defRPr sz="675"/>
            </a:lvl4pPr>
            <a:lvl5pPr marL="1371444" indent="0">
              <a:buNone/>
              <a:defRPr sz="675"/>
            </a:lvl5pPr>
            <a:lvl6pPr marL="1714305" indent="0">
              <a:buNone/>
              <a:defRPr sz="675"/>
            </a:lvl6pPr>
            <a:lvl7pPr marL="2057166" indent="0">
              <a:buNone/>
              <a:defRPr sz="675"/>
            </a:lvl7pPr>
            <a:lvl8pPr marL="2400027" indent="0">
              <a:buNone/>
              <a:defRPr sz="675"/>
            </a:lvl8pPr>
            <a:lvl9pPr marL="2742888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2608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61" indent="0">
              <a:buNone/>
              <a:defRPr sz="2100"/>
            </a:lvl2pPr>
            <a:lvl3pPr marL="685722" indent="0">
              <a:buNone/>
              <a:defRPr sz="1800"/>
            </a:lvl3pPr>
            <a:lvl4pPr marL="1028583" indent="0">
              <a:buNone/>
              <a:defRPr sz="1500"/>
            </a:lvl4pPr>
            <a:lvl5pPr marL="1371444" indent="0">
              <a:buNone/>
              <a:defRPr sz="1500"/>
            </a:lvl5pPr>
            <a:lvl6pPr marL="1714305" indent="0">
              <a:buNone/>
              <a:defRPr sz="1500"/>
            </a:lvl6pPr>
            <a:lvl7pPr marL="2057166" indent="0">
              <a:buNone/>
              <a:defRPr sz="1500"/>
            </a:lvl7pPr>
            <a:lvl8pPr marL="2400027" indent="0">
              <a:buNone/>
              <a:defRPr sz="1500"/>
            </a:lvl8pPr>
            <a:lvl9pPr marL="2742888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1" indent="0">
              <a:buNone/>
              <a:defRPr sz="900"/>
            </a:lvl2pPr>
            <a:lvl3pPr marL="685722" indent="0">
              <a:buNone/>
              <a:defRPr sz="750"/>
            </a:lvl3pPr>
            <a:lvl4pPr marL="1028583" indent="0">
              <a:buNone/>
              <a:defRPr sz="675"/>
            </a:lvl4pPr>
            <a:lvl5pPr marL="1371444" indent="0">
              <a:buNone/>
              <a:defRPr sz="675"/>
            </a:lvl5pPr>
            <a:lvl6pPr marL="1714305" indent="0">
              <a:buNone/>
              <a:defRPr sz="675"/>
            </a:lvl6pPr>
            <a:lvl7pPr marL="2057166" indent="0">
              <a:buNone/>
              <a:defRPr sz="675"/>
            </a:lvl7pPr>
            <a:lvl8pPr marL="2400027" indent="0">
              <a:buNone/>
              <a:defRPr sz="675"/>
            </a:lvl8pPr>
            <a:lvl9pPr marL="2742888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6762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041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7280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86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6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75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3239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33147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5"/>
          </p:nvPr>
        </p:nvSpPr>
        <p:spPr>
          <a:xfrm>
            <a:off x="6172200" y="2190753"/>
            <a:ext cx="2209800" cy="2403873"/>
          </a:xfrm>
        </p:spPr>
        <p:txBody>
          <a:bodyPr>
            <a:normAutofit/>
          </a:bodyPr>
          <a:lstStyle>
            <a:lvl1pPr marL="0" indent="0" algn="l" rtl="0">
              <a:buNone/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l" rtl="0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algn="l" rtl="0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algn="l" rtl="0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6829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72093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4189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7524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1002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33743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9390" y="4731571"/>
            <a:ext cx="8424863" cy="216694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de-DE" sz="525" b="0" i="1" dirty="0"/>
            </a:lvl1pPr>
          </a:lstStyle>
          <a:p>
            <a:pPr lvl="0"/>
            <a:r>
              <a:rPr lang="en-GB" noProof="0"/>
              <a:t>Click to 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285" y="2"/>
            <a:ext cx="7842107" cy="7430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0233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7940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18659" y="96479"/>
            <a:ext cx="8371656" cy="562563"/>
          </a:xfrm>
        </p:spPr>
        <p:txBody>
          <a:bodyPr/>
          <a:lstStyle>
            <a:lvl1pPr>
              <a:defRPr spc="563" baseline="0"/>
            </a:lvl1pPr>
          </a:lstStyle>
          <a:p>
            <a:r>
              <a:rPr lang="en-US" altLang="ja-JP" dirty="0"/>
              <a:t>SLIDE TITLE HERE</a:t>
            </a:r>
            <a:endParaRPr kumimoji="1" lang="ja-JP" altLang="en-US" dirty="0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>
          <a:xfrm>
            <a:off x="4707030" y="4795684"/>
            <a:ext cx="3888769" cy="273844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The Power of PowerPoint | thepopp.com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8686720" y="4795684"/>
            <a:ext cx="453685" cy="273844"/>
          </a:xfrm>
        </p:spPr>
        <p:txBody>
          <a:bodyPr/>
          <a:lstStyle/>
          <a:p>
            <a:fld id="{387164BF-D67A-46C0-81D2-5BAF67C00C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7959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6"/>
          <p:cNvGrpSpPr/>
          <p:nvPr/>
        </p:nvGrpSpPr>
        <p:grpSpPr>
          <a:xfrm>
            <a:off x="-4" y="42"/>
            <a:ext cx="7072431" cy="1327315"/>
            <a:chOff x="-4" y="40"/>
            <a:chExt cx="7072430" cy="1327315"/>
          </a:xfrm>
        </p:grpSpPr>
        <p:sp>
          <p:nvSpPr>
            <p:cNvPr id="83" name="Google Shape;83;p6"/>
            <p:cNvSpPr/>
            <p:nvPr/>
          </p:nvSpPr>
          <p:spPr>
            <a:xfrm>
              <a:off x="6292649" y="126425"/>
              <a:ext cx="779700" cy="259800"/>
            </a:xfrm>
            <a:prstGeom prst="triangle">
              <a:avLst>
                <a:gd name="adj" fmla="val 32425"/>
              </a:avLst>
            </a:prstGeom>
            <a:solidFill>
              <a:srgbClr val="263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1350">
                <a:solidFill>
                  <a:prstClr val="black"/>
                </a:solidFill>
                <a:latin typeface="Arvo"/>
                <a:ea typeface="Arvo"/>
                <a:cs typeface="Arvo"/>
                <a:sym typeface="Arvo"/>
              </a:endParaRPr>
            </a:p>
          </p:txBody>
        </p:sp>
        <p:grpSp>
          <p:nvGrpSpPr>
            <p:cNvPr id="84" name="Google Shape;84;p6"/>
            <p:cNvGrpSpPr/>
            <p:nvPr/>
          </p:nvGrpSpPr>
          <p:grpSpPr>
            <a:xfrm rot="10800000" flipH="1">
              <a:off x="3" y="40"/>
              <a:ext cx="6756168" cy="1327315"/>
              <a:chOff x="-2168138" y="330075"/>
              <a:chExt cx="8650663" cy="1699506"/>
            </a:xfrm>
          </p:grpSpPr>
          <p:sp>
            <p:nvSpPr>
              <p:cNvPr id="85" name="Google Shape;85;p6"/>
              <p:cNvSpPr/>
              <p:nvPr/>
            </p:nvSpPr>
            <p:spPr>
              <a:xfrm>
                <a:off x="-2168138" y="330081"/>
                <a:ext cx="6958200" cy="1699500"/>
              </a:xfrm>
              <a:prstGeom prst="rect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86" name="Google Shape;86;p6"/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  <p:grpSp>
          <p:nvGrpSpPr>
            <p:cNvPr id="87" name="Google Shape;87;p6"/>
            <p:cNvGrpSpPr/>
            <p:nvPr/>
          </p:nvGrpSpPr>
          <p:grpSpPr>
            <a:xfrm rot="10800000" flipH="1">
              <a:off x="-4" y="381007"/>
              <a:ext cx="7072430" cy="771744"/>
              <a:chOff x="-9092084" y="330075"/>
              <a:chExt cx="15574609" cy="1699501"/>
            </a:xfrm>
          </p:grpSpPr>
          <p:sp>
            <p:nvSpPr>
              <p:cNvPr id="88" name="Google Shape;88;p6"/>
              <p:cNvSpPr/>
              <p:nvPr/>
            </p:nvSpPr>
            <p:spPr>
              <a:xfrm>
                <a:off x="-9092084" y="330076"/>
                <a:ext cx="13882200" cy="1699500"/>
              </a:xfrm>
              <a:prstGeom prst="rect">
                <a:avLst/>
              </a:prstGeom>
              <a:solidFill>
                <a:srgbClr val="3F53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  <p:sp>
            <p:nvSpPr>
              <p:cNvPr id="89" name="Google Shape;89;p6"/>
              <p:cNvSpPr/>
              <p:nvPr/>
            </p:nvSpPr>
            <p:spPr>
              <a:xfrm>
                <a:off x="4783025" y="330075"/>
                <a:ext cx="1699500" cy="1699500"/>
              </a:xfrm>
              <a:prstGeom prst="rtTriangle">
                <a:avLst/>
              </a:prstGeom>
              <a:solidFill>
                <a:srgbClr val="3F537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  <a:latin typeface="Arvo"/>
                  <a:ea typeface="Arvo"/>
                  <a:cs typeface="Arvo"/>
                  <a:sym typeface="Arvo"/>
                </a:endParaRPr>
              </a:p>
            </p:txBody>
          </p:sp>
        </p:grpSp>
      </p:grpSp>
      <p:grpSp>
        <p:nvGrpSpPr>
          <p:cNvPr id="90" name="Google Shape;90;p6"/>
          <p:cNvGrpSpPr/>
          <p:nvPr/>
        </p:nvGrpSpPr>
        <p:grpSpPr>
          <a:xfrm>
            <a:off x="6946842" y="4472725"/>
            <a:ext cx="2202831" cy="670795"/>
            <a:chOff x="5575242" y="4472723"/>
            <a:chExt cx="2202830" cy="670795"/>
          </a:xfrm>
        </p:grpSpPr>
        <p:sp>
          <p:nvSpPr>
            <p:cNvPr id="91" name="Google Shape;91;p6"/>
            <p:cNvSpPr/>
            <p:nvPr/>
          </p:nvSpPr>
          <p:spPr>
            <a:xfrm rot="10800000">
              <a:off x="5575242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rgbClr val="D26F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grpSp>
          <p:nvGrpSpPr>
            <p:cNvPr id="92" name="Google Shape;92;p6"/>
            <p:cNvGrpSpPr/>
            <p:nvPr/>
          </p:nvGrpSpPr>
          <p:grpSpPr>
            <a:xfrm flipH="1">
              <a:off x="5734850" y="4472723"/>
              <a:ext cx="2040837" cy="670795"/>
              <a:chOff x="1297954" y="330075"/>
              <a:chExt cx="5169293" cy="1699506"/>
            </a:xfrm>
          </p:grpSpPr>
          <p:sp>
            <p:nvSpPr>
              <p:cNvPr id="93" name="Google Shape;93;p6"/>
              <p:cNvSpPr/>
              <p:nvPr/>
            </p:nvSpPr>
            <p:spPr>
              <a:xfrm>
                <a:off x="1297954" y="330081"/>
                <a:ext cx="3476700" cy="1699500"/>
              </a:xfrm>
              <a:prstGeom prst="rect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Google Shape;94;p6"/>
              <p:cNvSpPr/>
              <p:nvPr/>
            </p:nvSpPr>
            <p:spPr>
              <a:xfrm>
                <a:off x="4767747" y="330075"/>
                <a:ext cx="1699500" cy="1699500"/>
              </a:xfrm>
              <a:prstGeom prst="rtTriangle">
                <a:avLst/>
              </a:prstGeom>
              <a:solidFill>
                <a:srgbClr val="C7D3E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5" name="Google Shape;95;p6"/>
            <p:cNvGrpSpPr/>
            <p:nvPr/>
          </p:nvGrpSpPr>
          <p:grpSpPr>
            <a:xfrm flipH="1">
              <a:off x="5578209" y="4646738"/>
              <a:ext cx="2199863" cy="304563"/>
              <a:chOff x="-5827153" y="330075"/>
              <a:chExt cx="12276019" cy="1699569"/>
            </a:xfrm>
          </p:grpSpPr>
          <p:sp>
            <p:nvSpPr>
              <p:cNvPr id="96" name="Google Shape;96;p6"/>
              <p:cNvSpPr/>
              <p:nvPr/>
            </p:nvSpPr>
            <p:spPr>
              <a:xfrm>
                <a:off x="-5827153" y="330144"/>
                <a:ext cx="10612200" cy="1699500"/>
              </a:xfrm>
              <a:prstGeom prst="rect">
                <a:avLst/>
              </a:prstGeom>
              <a:solidFill>
                <a:srgbClr val="FF98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Google Shape;97;p6"/>
              <p:cNvSpPr/>
              <p:nvPr/>
            </p:nvSpPr>
            <p:spPr>
              <a:xfrm>
                <a:off x="4749366" y="330075"/>
                <a:ext cx="1699500" cy="1699500"/>
              </a:xfrm>
              <a:prstGeom prst="rtTriangle">
                <a:avLst/>
              </a:prstGeom>
              <a:solidFill>
                <a:srgbClr val="FF98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135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8" name="Google Shape;98;p6"/>
          <p:cNvSpPr txBox="1">
            <a:spLocks noGrp="1"/>
          </p:cNvSpPr>
          <p:nvPr>
            <p:ph type="title"/>
          </p:nvPr>
        </p:nvSpPr>
        <p:spPr>
          <a:xfrm>
            <a:off x="814275" y="392575"/>
            <a:ext cx="5258400" cy="7662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"/>
          <p:cNvSpPr txBox="1">
            <a:spLocks noGrp="1"/>
          </p:cNvSpPr>
          <p:nvPr>
            <p:ph type="body" idx="1"/>
          </p:nvPr>
        </p:nvSpPr>
        <p:spPr>
          <a:xfrm>
            <a:off x="814275" y="1537988"/>
            <a:ext cx="3378300" cy="27243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342900" lvl="0" indent="-266700">
              <a:spcBef>
                <a:spcPts val="450"/>
              </a:spcBef>
              <a:spcAft>
                <a:spcPts val="0"/>
              </a:spcAft>
              <a:buSzPts val="2000"/>
              <a:buChar char="▰"/>
              <a:defRPr sz="1500"/>
            </a:lvl1pPr>
            <a:lvl2pPr marL="685800" lvl="1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2pPr>
            <a:lvl3pPr marL="1028700" lvl="2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3pPr>
            <a:lvl4pPr marL="1371600" lvl="3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4pPr>
            <a:lvl5pPr marL="1714500" lvl="4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5pPr>
            <a:lvl6pPr marL="2057400" lvl="5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6pPr>
            <a:lvl7pPr marL="2400300" lvl="6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7pPr>
            <a:lvl8pPr marL="2743200" lvl="7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8pPr>
            <a:lvl9pPr marL="3086100" lvl="8" indent="-266700">
              <a:spcBef>
                <a:spcPts val="750"/>
              </a:spcBef>
              <a:spcAft>
                <a:spcPts val="750"/>
              </a:spcAft>
              <a:buSzPts val="2000"/>
              <a:buChar char="▻"/>
              <a:defRPr sz="1500"/>
            </a:lvl9pPr>
          </a:lstStyle>
          <a:p>
            <a:endParaRPr/>
          </a:p>
        </p:txBody>
      </p:sp>
      <p:sp>
        <p:nvSpPr>
          <p:cNvPr id="100" name="Google Shape;100;p6"/>
          <p:cNvSpPr txBox="1">
            <a:spLocks noGrp="1"/>
          </p:cNvSpPr>
          <p:nvPr>
            <p:ph type="body" idx="2"/>
          </p:nvPr>
        </p:nvSpPr>
        <p:spPr>
          <a:xfrm>
            <a:off x="4396123" y="1537988"/>
            <a:ext cx="3378300" cy="27243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342900" lvl="0" indent="-266700">
              <a:spcBef>
                <a:spcPts val="450"/>
              </a:spcBef>
              <a:spcAft>
                <a:spcPts val="0"/>
              </a:spcAft>
              <a:buSzPts val="2000"/>
              <a:buChar char="▰"/>
              <a:defRPr sz="1500"/>
            </a:lvl1pPr>
            <a:lvl2pPr marL="685800" lvl="1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2pPr>
            <a:lvl3pPr marL="1028700" lvl="2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3pPr>
            <a:lvl4pPr marL="1371600" lvl="3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4pPr>
            <a:lvl5pPr marL="1714500" lvl="4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5pPr>
            <a:lvl6pPr marL="2057400" lvl="5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6pPr>
            <a:lvl7pPr marL="2400300" lvl="6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7pPr>
            <a:lvl8pPr marL="2743200" lvl="7" indent="-266700">
              <a:spcBef>
                <a:spcPts val="750"/>
              </a:spcBef>
              <a:spcAft>
                <a:spcPts val="0"/>
              </a:spcAft>
              <a:buSzPts val="2000"/>
              <a:buChar char="▻"/>
              <a:defRPr sz="1500"/>
            </a:lvl8pPr>
            <a:lvl9pPr marL="3086100" lvl="8" indent="-266700">
              <a:spcBef>
                <a:spcPts val="750"/>
              </a:spcBef>
              <a:spcAft>
                <a:spcPts val="750"/>
              </a:spcAft>
              <a:buSzPts val="2000"/>
              <a:buChar char="▻"/>
              <a:defRPr sz="1500"/>
            </a:lvl9pPr>
          </a:lstStyle>
          <a:p>
            <a:endParaRPr/>
          </a:p>
        </p:txBody>
      </p:sp>
      <p:sp>
        <p:nvSpPr>
          <p:cNvPr id="101" name="Google Shape;101;p6"/>
          <p:cNvSpPr txBox="1">
            <a:spLocks noGrp="1"/>
          </p:cNvSpPr>
          <p:nvPr>
            <p:ph type="sldNum" idx="12"/>
          </p:nvPr>
        </p:nvSpPr>
        <p:spPr>
          <a:xfrm>
            <a:off x="7618000" y="4636500"/>
            <a:ext cx="1487400" cy="31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073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>
              <a:defRPr sz="2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71431" indent="-171431">
              <a:buClr>
                <a:schemeClr val="accent1"/>
              </a:buClr>
              <a:defRPr sz="1500">
                <a:solidFill>
                  <a:schemeClr val="tx2"/>
                </a:solidFill>
              </a:defRPr>
            </a:lvl1pPr>
            <a:lvl2pPr marL="471434" indent="-128573">
              <a:buClr>
                <a:schemeClr val="accent1"/>
              </a:buClr>
              <a:defRPr sz="1350">
                <a:solidFill>
                  <a:schemeClr val="tx2"/>
                </a:solidFill>
              </a:defRPr>
            </a:lvl2pPr>
            <a:lvl3pPr marL="814295" indent="-128573"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05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00"/>
            </a:lvl1pPr>
          </a:lstStyle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66754"/>
            <a:ext cx="86868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6" rIns="68573" bIns="34286"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098197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5" y="514350"/>
            <a:ext cx="3697287" cy="2057400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5" y="2800350"/>
            <a:ext cx="3849687" cy="152400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61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44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30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1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02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8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75"/>
            </a:lvl1pPr>
          </a:lstStyle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75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75"/>
            </a:lvl1pPr>
          </a:lstStyle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581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35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1" indent="0">
              <a:buNone/>
              <a:defRPr sz="1500" b="1"/>
            </a:lvl2pPr>
            <a:lvl3pPr marL="685722" indent="0">
              <a:buNone/>
              <a:defRPr sz="1350" b="1"/>
            </a:lvl3pPr>
            <a:lvl4pPr marL="1028583" indent="0">
              <a:buNone/>
              <a:defRPr sz="1200" b="1"/>
            </a:lvl4pPr>
            <a:lvl5pPr marL="1371444" indent="0">
              <a:buNone/>
              <a:defRPr sz="1200" b="1"/>
            </a:lvl5pPr>
            <a:lvl6pPr marL="1714305" indent="0">
              <a:buNone/>
              <a:defRPr sz="1200" b="1"/>
            </a:lvl6pPr>
            <a:lvl7pPr marL="2057166" indent="0">
              <a:buNone/>
              <a:defRPr sz="1200" b="1"/>
            </a:lvl7pPr>
            <a:lvl8pPr marL="2400027" indent="0">
              <a:buNone/>
              <a:defRPr sz="1200" b="1"/>
            </a:lvl8pPr>
            <a:lvl9pPr marL="27428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0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9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arallelogram 5"/>
          <p:cNvSpPr/>
          <p:nvPr userDrawn="1"/>
        </p:nvSpPr>
        <p:spPr>
          <a:xfrm>
            <a:off x="2" y="209550"/>
            <a:ext cx="8197013" cy="449392"/>
          </a:xfrm>
          <a:prstGeom prst="parallelogram">
            <a:avLst>
              <a:gd name="adj" fmla="val 111797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GB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745" y="176930"/>
            <a:ext cx="821999" cy="5797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94" y="267871"/>
            <a:ext cx="736596" cy="34440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422401" y="209550"/>
            <a:ext cx="60959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2" y="5111402"/>
            <a:ext cx="9143999" cy="0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204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3134A-6939-4826-B0C4-460D7716B793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AC3CEC-329D-4908-82CA-9D97BF8910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34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31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2" r:id="rId24"/>
  </p:sldLayoutIdLst>
  <p:txStyles>
    <p:titleStyle>
      <a:lvl1pPr algn="ctr" defTabSz="685722" rtl="1" eaLnBrk="1" latinLnBrk="0" hangingPunct="1">
        <a:spcBef>
          <a:spcPct val="0"/>
        </a:spcBef>
        <a:buNone/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7146" indent="-257146" algn="r" defTabSz="685722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49" indent="-214288" algn="r" defTabSz="685722" rtl="1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53" indent="-171431" algn="r" defTabSz="685722" rtl="1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14" indent="-171431" algn="r" defTabSz="685722" rtl="1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75" indent="-171431" algn="r" defTabSz="685722" rtl="1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36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7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58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9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3134A-6939-4826-B0C4-460D7716B79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AC3CEC-329D-4908-82CA-9D97BF891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936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</p:sldLayoutIdLst>
  <p:txStyles>
    <p:titleStyle>
      <a:lvl1pPr algn="ctr" defTabSz="685722" rtl="1" eaLnBrk="1" latinLnBrk="0" hangingPunct="1">
        <a:spcBef>
          <a:spcPct val="0"/>
        </a:spcBef>
        <a:buNone/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7146" indent="-257146" algn="r" defTabSz="685722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49" indent="-214288" algn="r" defTabSz="685722" rtl="1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53" indent="-171431" algn="r" defTabSz="685722" rtl="1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14" indent="-171431" algn="r" defTabSz="685722" rtl="1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75" indent="-171431" algn="r" defTabSz="685722" rtl="1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36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7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58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9" indent="-171431" algn="l" defTabSz="6857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3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54.png"/><Relationship Id="rId5" Type="http://schemas.openxmlformats.org/officeDocument/2006/relationships/hyperlink" Target="&#31934;&#21697;&#24917;&#35838;.mp4" TargetMode="External"/><Relationship Id="rId4" Type="http://schemas.openxmlformats.org/officeDocument/2006/relationships/hyperlink" Target="&#22823;&#21654;&#30452;&#25773;.mp4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0.pn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jpe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jpeg"/><Relationship Id="rId26" Type="http://schemas.openxmlformats.org/officeDocument/2006/relationships/image" Target="../media/image50.png"/><Relationship Id="rId3" Type="http://schemas.openxmlformats.org/officeDocument/2006/relationships/tags" Target="../tags/tag17.xml"/><Relationship Id="rId21" Type="http://schemas.openxmlformats.org/officeDocument/2006/relationships/image" Target="../media/image45.png"/><Relationship Id="rId7" Type="http://schemas.openxmlformats.org/officeDocument/2006/relationships/image" Target="../media/image31.emf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tags" Target="../tags/tag16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tags" Target="../tags/tag15.x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10" Type="http://schemas.openxmlformats.org/officeDocument/2006/relationships/image" Target="../media/image34.png"/><Relationship Id="rId19" Type="http://schemas.openxmlformats.org/officeDocument/2006/relationships/image" Target="../media/image43.jpeg"/><Relationship Id="rId4" Type="http://schemas.openxmlformats.org/officeDocument/2006/relationships/tags" Target="../tags/tag18.xml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5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2817"/>
            <a:ext cx="9144000" cy="5162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4153016"/>
            <a:ext cx="9144000" cy="510389"/>
          </a:xfrm>
          <a:prstGeom prst="rect">
            <a:avLst/>
          </a:prstGeom>
          <a:solidFill>
            <a:schemeClr val="accent5">
              <a:lumMod val="7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" y="1726016"/>
            <a:ext cx="6091760" cy="832442"/>
          </a:xfrm>
          <a:prstGeom prst="roundRect">
            <a:avLst>
              <a:gd name="adj" fmla="val 12606"/>
            </a:avLst>
          </a:prstGeom>
          <a:solidFill>
            <a:schemeClr val="bg1">
              <a:alpha val="85000"/>
            </a:schemeClr>
          </a:solidFill>
        </p:spPr>
        <p:txBody>
          <a:bodyPr vert="horz" lIns="68580" tIns="0" rIns="68580" bIns="0" rtlCol="0" anchor="ctr">
            <a:normAutofit/>
          </a:bodyPr>
          <a:lstStyle/>
          <a:p>
            <a:pPr lvl="0">
              <a:defRPr/>
            </a:pPr>
            <a:r>
              <a:rPr lang="zh-CN" altLang="en-US" sz="2800" b="1" dirty="0"/>
              <a:t>智慧城市人才计划使能智慧城市建设</a:t>
            </a:r>
            <a:endParaRPr lang="en-US" altLang="zh-CN" sz="28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1295400" y="4190997"/>
            <a:ext cx="5680390" cy="451326"/>
            <a:chOff x="203200" y="4968594"/>
            <a:chExt cx="7573853" cy="60176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95658" y="4968594"/>
              <a:ext cx="602689" cy="60176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49009" y="5026086"/>
              <a:ext cx="728044" cy="486783"/>
            </a:xfrm>
            <a:prstGeom prst="rect">
              <a:avLst/>
            </a:prstGeom>
          </p:spPr>
        </p:pic>
        <p:cxnSp>
          <p:nvCxnSpPr>
            <p:cNvPr id="33" name="Straight Connector 32"/>
            <p:cNvCxnSpPr/>
            <p:nvPr/>
          </p:nvCxnSpPr>
          <p:spPr>
            <a:xfrm>
              <a:off x="6757890" y="5026086"/>
              <a:ext cx="0" cy="48678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Subtitle 2"/>
            <p:cNvSpPr txBox="1">
              <a:spLocks/>
            </p:cNvSpPr>
            <p:nvPr/>
          </p:nvSpPr>
          <p:spPr>
            <a:xfrm>
              <a:off x="203200" y="5023305"/>
              <a:ext cx="3429000" cy="509315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3200" kern="120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200" b="1" dirty="0">
                  <a:solidFill>
                    <a:schemeClr val="bg1"/>
                  </a:solidFill>
                </a:rPr>
                <a:t>延布皇家委员会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874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标题 1"/>
          <p:cNvSpPr txBox="1">
            <a:spLocks/>
          </p:cNvSpPr>
          <p:nvPr/>
        </p:nvSpPr>
        <p:spPr>
          <a:xfrm>
            <a:off x="304800" y="633612"/>
            <a:ext cx="8347199" cy="512890"/>
          </a:xfrm>
          <a:prstGeom prst="rect">
            <a:avLst/>
          </a:prstGeom>
        </p:spPr>
        <p:txBody>
          <a:bodyPr vert="horz" lIns="91415" tIns="45708" rIns="91415" bIns="45708" rtlCol="0" anchor="ctr">
            <a:noAutofit/>
          </a:bodyPr>
          <a:lstStyle>
            <a:defPPr>
              <a:defRPr lang="en-US"/>
            </a:defPPr>
            <a:lvl1pPr defTabSz="1219200">
              <a:lnSpc>
                <a:spcPct val="90000"/>
              </a:lnSpc>
              <a:spcBef>
                <a:spcPct val="0"/>
              </a:spcBef>
              <a:buNone/>
              <a:defRPr sz="24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人才培养课程</a:t>
            </a:r>
          </a:p>
        </p:txBody>
      </p:sp>
      <p:grpSp>
        <p:nvGrpSpPr>
          <p:cNvPr id="127" name="组合 4"/>
          <p:cNvGrpSpPr/>
          <p:nvPr/>
        </p:nvGrpSpPr>
        <p:grpSpPr>
          <a:xfrm>
            <a:off x="483805" y="1473704"/>
            <a:ext cx="3374444" cy="2932381"/>
            <a:chOff x="2853843" y="1431356"/>
            <a:chExt cx="3275226" cy="2832559"/>
          </a:xfrm>
        </p:grpSpPr>
        <p:sp>
          <p:nvSpPr>
            <p:cNvPr id="128" name="Freeform 22"/>
            <p:cNvSpPr>
              <a:spLocks/>
            </p:cNvSpPr>
            <p:nvPr/>
          </p:nvSpPr>
          <p:spPr bwMode="auto">
            <a:xfrm>
              <a:off x="3665684" y="2428361"/>
              <a:ext cx="1720643" cy="473057"/>
            </a:xfrm>
            <a:custGeom>
              <a:avLst/>
              <a:gdLst>
                <a:gd name="T0" fmla="*/ 0 w 1412"/>
                <a:gd name="T1" fmla="*/ 418998 h 406"/>
                <a:gd name="T2" fmla="*/ 1099839 w 1412"/>
                <a:gd name="T3" fmla="*/ 0 h 406"/>
                <a:gd name="T4" fmla="*/ 2389188 w 1412"/>
                <a:gd name="T5" fmla="*/ 291060 h 406"/>
                <a:gd name="T6" fmla="*/ 1489012 w 1412"/>
                <a:gd name="T7" fmla="*/ 649287 h 406"/>
                <a:gd name="T8" fmla="*/ 0 w 1412"/>
                <a:gd name="T9" fmla="*/ 418998 h 4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12"/>
                <a:gd name="T16" fmla="*/ 0 h 406"/>
                <a:gd name="T17" fmla="*/ 1412 w 1412"/>
                <a:gd name="T18" fmla="*/ 406 h 406"/>
                <a:gd name="connsiteX0" fmla="*/ 0 w 10173"/>
                <a:gd name="connsiteY0" fmla="*/ 6453 h 10000"/>
                <a:gd name="connsiteX1" fmla="*/ 4776 w 10173"/>
                <a:gd name="connsiteY1" fmla="*/ 0 h 10000"/>
                <a:gd name="connsiteX2" fmla="*/ 10173 w 10173"/>
                <a:gd name="connsiteY2" fmla="*/ 4483 h 10000"/>
                <a:gd name="connsiteX3" fmla="*/ 6405 w 10173"/>
                <a:gd name="connsiteY3" fmla="*/ 10000 h 10000"/>
                <a:gd name="connsiteX4" fmla="*/ 0 w 10173"/>
                <a:gd name="connsiteY4" fmla="*/ 645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3" h="10000">
                  <a:moveTo>
                    <a:pt x="0" y="6453"/>
                  </a:moveTo>
                  <a:lnTo>
                    <a:pt x="4776" y="0"/>
                  </a:lnTo>
                  <a:lnTo>
                    <a:pt x="10173" y="4483"/>
                  </a:lnTo>
                  <a:lnTo>
                    <a:pt x="6405" y="10000"/>
                  </a:lnTo>
                  <a:lnTo>
                    <a:pt x="0" y="6453"/>
                  </a:lnTo>
                  <a:close/>
                </a:path>
              </a:pathLst>
            </a:custGeom>
            <a:solidFill>
              <a:srgbClr val="00B050">
                <a:alpha val="41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9" name="Freeform 23"/>
            <p:cNvSpPr>
              <a:spLocks/>
            </p:cNvSpPr>
            <p:nvPr/>
          </p:nvSpPr>
          <p:spPr bwMode="auto">
            <a:xfrm>
              <a:off x="3249231" y="2949996"/>
              <a:ext cx="2540681" cy="727513"/>
            </a:xfrm>
            <a:custGeom>
              <a:avLst/>
              <a:gdLst>
                <a:gd name="T0" fmla="*/ 0 w 2022"/>
                <a:gd name="T1" fmla="*/ 601967 h 632"/>
                <a:gd name="T2" fmla="*/ 1082522 w 2022"/>
                <a:gd name="T3" fmla="*/ 0 h 632"/>
                <a:gd name="T4" fmla="*/ 3271837 w 2022"/>
                <a:gd name="T5" fmla="*/ 390251 h 632"/>
                <a:gd name="T6" fmla="*/ 2069575 w 2022"/>
                <a:gd name="T7" fmla="*/ 998538 h 632"/>
                <a:gd name="T8" fmla="*/ 0 w 2022"/>
                <a:gd name="T9" fmla="*/ 601967 h 6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22"/>
                <a:gd name="T16" fmla="*/ 0 h 632"/>
                <a:gd name="T17" fmla="*/ 2022 w 2022"/>
                <a:gd name="T18" fmla="*/ 632 h 632"/>
                <a:gd name="connsiteX0" fmla="*/ 0 w 10632"/>
                <a:gd name="connsiteY0" fmla="*/ 5144 h 10000"/>
                <a:gd name="connsiteX1" fmla="*/ 3941 w 10632"/>
                <a:gd name="connsiteY1" fmla="*/ 0 h 10000"/>
                <a:gd name="connsiteX2" fmla="*/ 10632 w 10632"/>
                <a:gd name="connsiteY2" fmla="*/ 3908 h 10000"/>
                <a:gd name="connsiteX3" fmla="*/ 6957 w 10632"/>
                <a:gd name="connsiteY3" fmla="*/ 10000 h 10000"/>
                <a:gd name="connsiteX4" fmla="*/ 0 w 10632"/>
                <a:gd name="connsiteY4" fmla="*/ 5144 h 10000"/>
                <a:gd name="connsiteX0" fmla="*/ 0 w 11011"/>
                <a:gd name="connsiteY0" fmla="*/ 5144 h 10000"/>
                <a:gd name="connsiteX1" fmla="*/ 3941 w 11011"/>
                <a:gd name="connsiteY1" fmla="*/ 0 h 10000"/>
                <a:gd name="connsiteX2" fmla="*/ 11011 w 11011"/>
                <a:gd name="connsiteY2" fmla="*/ 2730 h 10000"/>
                <a:gd name="connsiteX3" fmla="*/ 6957 w 11011"/>
                <a:gd name="connsiteY3" fmla="*/ 10000 h 10000"/>
                <a:gd name="connsiteX4" fmla="*/ 0 w 11011"/>
                <a:gd name="connsiteY4" fmla="*/ 5144 h 10000"/>
                <a:gd name="connsiteX0" fmla="*/ 0 w 10969"/>
                <a:gd name="connsiteY0" fmla="*/ 4888 h 10000"/>
                <a:gd name="connsiteX1" fmla="*/ 3899 w 10969"/>
                <a:gd name="connsiteY1" fmla="*/ 0 h 10000"/>
                <a:gd name="connsiteX2" fmla="*/ 10969 w 10969"/>
                <a:gd name="connsiteY2" fmla="*/ 2730 h 10000"/>
                <a:gd name="connsiteX3" fmla="*/ 6915 w 10969"/>
                <a:gd name="connsiteY3" fmla="*/ 10000 h 10000"/>
                <a:gd name="connsiteX4" fmla="*/ 0 w 10969"/>
                <a:gd name="connsiteY4" fmla="*/ 488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9" h="10000">
                  <a:moveTo>
                    <a:pt x="0" y="4888"/>
                  </a:moveTo>
                  <a:lnTo>
                    <a:pt x="3899" y="0"/>
                  </a:lnTo>
                  <a:lnTo>
                    <a:pt x="10969" y="2730"/>
                  </a:lnTo>
                  <a:lnTo>
                    <a:pt x="6915" y="10000"/>
                  </a:lnTo>
                  <a:lnTo>
                    <a:pt x="0" y="4888"/>
                  </a:lnTo>
                  <a:close/>
                </a:path>
              </a:pathLst>
            </a:custGeom>
            <a:solidFill>
              <a:srgbClr val="00B0F0">
                <a:alpha val="58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0" name="Freeform 9"/>
            <p:cNvSpPr>
              <a:spLocks/>
            </p:cNvSpPr>
            <p:nvPr/>
          </p:nvSpPr>
          <p:spPr bwMode="auto">
            <a:xfrm>
              <a:off x="3697192" y="1431356"/>
              <a:ext cx="1048545" cy="1311605"/>
            </a:xfrm>
            <a:custGeom>
              <a:avLst/>
              <a:gdLst>
                <a:gd name="T0" fmla="*/ 1187662 w 646"/>
                <a:gd name="T1" fmla="*/ 0 h 886"/>
                <a:gd name="T2" fmla="*/ 0 w 646"/>
                <a:gd name="T3" fmla="*/ 1576721 h 886"/>
                <a:gd name="T4" fmla="*/ 1481138 w 646"/>
                <a:gd name="T5" fmla="*/ 1800225 h 886"/>
                <a:gd name="T6" fmla="*/ 1187662 w 646"/>
                <a:gd name="T7" fmla="*/ 0 h 88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6"/>
                <a:gd name="T13" fmla="*/ 0 h 886"/>
                <a:gd name="T14" fmla="*/ 646 w 646"/>
                <a:gd name="T15" fmla="*/ 886 h 88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6" h="886">
                  <a:moveTo>
                    <a:pt x="518" y="0"/>
                  </a:moveTo>
                  <a:lnTo>
                    <a:pt x="0" y="776"/>
                  </a:lnTo>
                  <a:lnTo>
                    <a:pt x="646" y="886"/>
                  </a:lnTo>
                  <a:lnTo>
                    <a:pt x="518" y="0"/>
                  </a:lnTo>
                  <a:close/>
                </a:path>
              </a:pathLst>
            </a:custGeom>
            <a:solidFill>
              <a:srgbClr val="FFC000">
                <a:alpha val="45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1" name="Freeform 11"/>
            <p:cNvSpPr>
              <a:spLocks/>
            </p:cNvSpPr>
            <p:nvPr/>
          </p:nvSpPr>
          <p:spPr bwMode="auto">
            <a:xfrm>
              <a:off x="4534009" y="1437138"/>
              <a:ext cx="837263" cy="1305822"/>
            </a:xfrm>
            <a:custGeom>
              <a:avLst/>
              <a:gdLst>
                <a:gd name="T0" fmla="*/ 0 w 514"/>
                <a:gd name="T1" fmla="*/ 0 h 882"/>
                <a:gd name="T2" fmla="*/ 1182688 w 514"/>
                <a:gd name="T3" fmla="*/ 1454964 h 882"/>
                <a:gd name="T4" fmla="*/ 289920 w 514"/>
                <a:gd name="T5" fmla="*/ 1792288 h 882"/>
                <a:gd name="T6" fmla="*/ 0 w 514"/>
                <a:gd name="T7" fmla="*/ 0 h 88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4"/>
                <a:gd name="T13" fmla="*/ 0 h 882"/>
                <a:gd name="T14" fmla="*/ 514 w 514"/>
                <a:gd name="T15" fmla="*/ 882 h 88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4" h="882">
                  <a:moveTo>
                    <a:pt x="0" y="0"/>
                  </a:moveTo>
                  <a:lnTo>
                    <a:pt x="514" y="716"/>
                  </a:lnTo>
                  <a:lnTo>
                    <a:pt x="126" y="8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>
                <a:alpha val="45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Freeform 14"/>
            <p:cNvSpPr>
              <a:spLocks/>
            </p:cNvSpPr>
            <p:nvPr/>
          </p:nvSpPr>
          <p:spPr bwMode="auto">
            <a:xfrm>
              <a:off x="3307399" y="2727925"/>
              <a:ext cx="1529369" cy="744862"/>
            </a:xfrm>
            <a:custGeom>
              <a:avLst/>
              <a:gdLst>
                <a:gd name="T0" fmla="*/ 459507 w 1024"/>
                <a:gd name="T1" fmla="*/ 0 h 520"/>
                <a:gd name="T2" fmla="*/ 1950888 w 1024"/>
                <a:gd name="T3" fmla="*/ 228063 h 520"/>
                <a:gd name="T4" fmla="*/ 2063750 w 1024"/>
                <a:gd name="T5" fmla="*/ 1022350 h 520"/>
                <a:gd name="T6" fmla="*/ 0 w 1024"/>
                <a:gd name="T7" fmla="*/ 652731 h 520"/>
                <a:gd name="T8" fmla="*/ 459507 w 1024"/>
                <a:gd name="T9" fmla="*/ 0 h 5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24"/>
                <a:gd name="T16" fmla="*/ 0 h 520"/>
                <a:gd name="T17" fmla="*/ 1024 w 1024"/>
                <a:gd name="T18" fmla="*/ 520 h 520"/>
                <a:gd name="connsiteX0" fmla="*/ 1893 w 10000"/>
                <a:gd name="connsiteY0" fmla="*/ 0 h 10000"/>
                <a:gd name="connsiteX1" fmla="*/ 9453 w 10000"/>
                <a:gd name="connsiteY1" fmla="*/ 2231 h 10000"/>
                <a:gd name="connsiteX2" fmla="*/ 10000 w 10000"/>
                <a:gd name="connsiteY2" fmla="*/ 10000 h 10000"/>
                <a:gd name="connsiteX3" fmla="*/ 0 w 10000"/>
                <a:gd name="connsiteY3" fmla="*/ 6385 h 10000"/>
                <a:gd name="connsiteX4" fmla="*/ 1893 w 10000"/>
                <a:gd name="connsiteY4" fmla="*/ 0 h 10000"/>
                <a:gd name="connsiteX0" fmla="*/ 2361 w 10468"/>
                <a:gd name="connsiteY0" fmla="*/ 0 h 10000"/>
                <a:gd name="connsiteX1" fmla="*/ 9921 w 10468"/>
                <a:gd name="connsiteY1" fmla="*/ 2231 h 10000"/>
                <a:gd name="connsiteX2" fmla="*/ 10468 w 10468"/>
                <a:gd name="connsiteY2" fmla="*/ 10000 h 10000"/>
                <a:gd name="connsiteX3" fmla="*/ 0 w 10468"/>
                <a:gd name="connsiteY3" fmla="*/ 6097 h 10000"/>
                <a:gd name="connsiteX4" fmla="*/ 2361 w 10468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68" h="10000">
                  <a:moveTo>
                    <a:pt x="2361" y="0"/>
                  </a:moveTo>
                  <a:lnTo>
                    <a:pt x="9921" y="2231"/>
                  </a:lnTo>
                  <a:cubicBezTo>
                    <a:pt x="10103" y="4821"/>
                    <a:pt x="10286" y="7410"/>
                    <a:pt x="10468" y="10000"/>
                  </a:cubicBezTo>
                  <a:lnTo>
                    <a:pt x="0" y="6097"/>
                  </a:lnTo>
                  <a:lnTo>
                    <a:pt x="2361" y="0"/>
                  </a:lnTo>
                  <a:close/>
                </a:path>
              </a:pathLst>
            </a:custGeom>
            <a:solidFill>
              <a:srgbClr val="00B050">
                <a:alpha val="41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Freeform 16"/>
            <p:cNvSpPr>
              <a:spLocks/>
            </p:cNvSpPr>
            <p:nvPr/>
          </p:nvSpPr>
          <p:spPr bwMode="auto">
            <a:xfrm>
              <a:off x="2853843" y="3308703"/>
              <a:ext cx="2084070" cy="949427"/>
            </a:xfrm>
            <a:custGeom>
              <a:avLst/>
              <a:gdLst>
                <a:gd name="T0" fmla="*/ 459928 w 1639"/>
                <a:gd name="T1" fmla="*/ 0 h 759"/>
                <a:gd name="T2" fmla="*/ 2526362 w 1639"/>
                <a:gd name="T3" fmla="*/ 385819 h 759"/>
                <a:gd name="T4" fmla="*/ 2654300 w 1639"/>
                <a:gd name="T5" fmla="*/ 1200150 h 759"/>
                <a:gd name="T6" fmla="*/ 0 w 1639"/>
                <a:gd name="T7" fmla="*/ 623003 h 759"/>
                <a:gd name="T8" fmla="*/ 459928 w 1639"/>
                <a:gd name="T9" fmla="*/ 0 h 75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39"/>
                <a:gd name="T16" fmla="*/ 0 h 759"/>
                <a:gd name="T17" fmla="*/ 1639 w 1639"/>
                <a:gd name="T18" fmla="*/ 759 h 759"/>
                <a:gd name="connsiteX0" fmla="*/ 1213 w 10000"/>
                <a:gd name="connsiteY0" fmla="*/ 0 h 10490"/>
                <a:gd name="connsiteX1" fmla="*/ 9518 w 10000"/>
                <a:gd name="connsiteY1" fmla="*/ 3705 h 10490"/>
                <a:gd name="connsiteX2" fmla="*/ 10000 w 10000"/>
                <a:gd name="connsiteY2" fmla="*/ 10490 h 10490"/>
                <a:gd name="connsiteX3" fmla="*/ 0 w 10000"/>
                <a:gd name="connsiteY3" fmla="*/ 5681 h 10490"/>
                <a:gd name="connsiteX4" fmla="*/ 1213 w 10000"/>
                <a:gd name="connsiteY4" fmla="*/ 0 h 10490"/>
                <a:gd name="connsiteX0" fmla="*/ 2304 w 11091"/>
                <a:gd name="connsiteY0" fmla="*/ 0 h 10490"/>
                <a:gd name="connsiteX1" fmla="*/ 10609 w 11091"/>
                <a:gd name="connsiteY1" fmla="*/ 3705 h 10490"/>
                <a:gd name="connsiteX2" fmla="*/ 11091 w 11091"/>
                <a:gd name="connsiteY2" fmla="*/ 10490 h 10490"/>
                <a:gd name="connsiteX3" fmla="*/ 0 w 11091"/>
                <a:gd name="connsiteY3" fmla="*/ 5191 h 10490"/>
                <a:gd name="connsiteX4" fmla="*/ 2304 w 11091"/>
                <a:gd name="connsiteY4" fmla="*/ 0 h 10490"/>
                <a:gd name="connsiteX0" fmla="*/ 2148 w 11091"/>
                <a:gd name="connsiteY0" fmla="*/ 0 h 10858"/>
                <a:gd name="connsiteX1" fmla="*/ 10609 w 11091"/>
                <a:gd name="connsiteY1" fmla="*/ 4073 h 10858"/>
                <a:gd name="connsiteX2" fmla="*/ 11091 w 11091"/>
                <a:gd name="connsiteY2" fmla="*/ 10858 h 10858"/>
                <a:gd name="connsiteX3" fmla="*/ 0 w 11091"/>
                <a:gd name="connsiteY3" fmla="*/ 5559 h 10858"/>
                <a:gd name="connsiteX4" fmla="*/ 2148 w 11091"/>
                <a:gd name="connsiteY4" fmla="*/ 0 h 1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91" h="10858">
                  <a:moveTo>
                    <a:pt x="2148" y="0"/>
                  </a:moveTo>
                  <a:lnTo>
                    <a:pt x="10609" y="4073"/>
                  </a:lnTo>
                  <a:cubicBezTo>
                    <a:pt x="10770" y="6335"/>
                    <a:pt x="10930" y="8596"/>
                    <a:pt x="11091" y="10858"/>
                  </a:cubicBezTo>
                  <a:lnTo>
                    <a:pt x="0" y="5559"/>
                  </a:lnTo>
                  <a:lnTo>
                    <a:pt x="2148" y="0"/>
                  </a:lnTo>
                  <a:close/>
                </a:path>
              </a:pathLst>
            </a:custGeom>
            <a:solidFill>
              <a:srgbClr val="00B0F0">
                <a:alpha val="58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Freeform 20"/>
            <p:cNvSpPr>
              <a:spLocks/>
            </p:cNvSpPr>
            <p:nvPr/>
          </p:nvSpPr>
          <p:spPr bwMode="auto">
            <a:xfrm>
              <a:off x="4843512" y="3151419"/>
              <a:ext cx="1285557" cy="1112496"/>
            </a:xfrm>
            <a:custGeom>
              <a:avLst/>
              <a:gdLst>
                <a:gd name="T0" fmla="*/ 0 w 1012"/>
                <a:gd name="T1" fmla="*/ 606660 h 899"/>
                <a:gd name="T2" fmla="*/ 1204893 w 1012"/>
                <a:gd name="T3" fmla="*/ 0 h 899"/>
                <a:gd name="T4" fmla="*/ 1636713 w 1012"/>
                <a:gd name="T5" fmla="*/ 548053 h 899"/>
                <a:gd name="T6" fmla="*/ 126150 w 1012"/>
                <a:gd name="T7" fmla="*/ 1423987 h 899"/>
                <a:gd name="T8" fmla="*/ 0 w 1012"/>
                <a:gd name="T9" fmla="*/ 606660 h 8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12"/>
                <a:gd name="T16" fmla="*/ 0 h 899"/>
                <a:gd name="T17" fmla="*/ 1012 w 1012"/>
                <a:gd name="T18" fmla="*/ 899 h 899"/>
                <a:gd name="connsiteX0" fmla="*/ 0 w 10337"/>
                <a:gd name="connsiteY0" fmla="*/ 4260 h 10000"/>
                <a:gd name="connsiteX1" fmla="*/ 7362 w 10337"/>
                <a:gd name="connsiteY1" fmla="*/ 0 h 10000"/>
                <a:gd name="connsiteX2" fmla="*/ 10337 w 10337"/>
                <a:gd name="connsiteY2" fmla="*/ 3849 h 10000"/>
                <a:gd name="connsiteX3" fmla="*/ 771 w 10337"/>
                <a:gd name="connsiteY3" fmla="*/ 10000 h 10000"/>
                <a:gd name="connsiteX4" fmla="*/ 0 w 10337"/>
                <a:gd name="connsiteY4" fmla="*/ 4260 h 10000"/>
                <a:gd name="connsiteX0" fmla="*/ 0 w 10337"/>
                <a:gd name="connsiteY0" fmla="*/ 4983 h 10723"/>
                <a:gd name="connsiteX1" fmla="*/ 7952 w 10337"/>
                <a:gd name="connsiteY1" fmla="*/ 0 h 10723"/>
                <a:gd name="connsiteX2" fmla="*/ 10337 w 10337"/>
                <a:gd name="connsiteY2" fmla="*/ 4572 h 10723"/>
                <a:gd name="connsiteX3" fmla="*/ 771 w 10337"/>
                <a:gd name="connsiteY3" fmla="*/ 10723 h 10723"/>
                <a:gd name="connsiteX4" fmla="*/ 0 w 10337"/>
                <a:gd name="connsiteY4" fmla="*/ 4983 h 10723"/>
                <a:gd name="connsiteX0" fmla="*/ 0 w 11095"/>
                <a:gd name="connsiteY0" fmla="*/ 4983 h 10723"/>
                <a:gd name="connsiteX1" fmla="*/ 7952 w 11095"/>
                <a:gd name="connsiteY1" fmla="*/ 0 h 10723"/>
                <a:gd name="connsiteX2" fmla="*/ 11095 w 11095"/>
                <a:gd name="connsiteY2" fmla="*/ 4365 h 10723"/>
                <a:gd name="connsiteX3" fmla="*/ 771 w 11095"/>
                <a:gd name="connsiteY3" fmla="*/ 10723 h 10723"/>
                <a:gd name="connsiteX4" fmla="*/ 0 w 11095"/>
                <a:gd name="connsiteY4" fmla="*/ 4983 h 10723"/>
                <a:gd name="connsiteX0" fmla="*/ 0 w 11095"/>
                <a:gd name="connsiteY0" fmla="*/ 4983 h 10723"/>
                <a:gd name="connsiteX1" fmla="*/ 8205 w 11095"/>
                <a:gd name="connsiteY1" fmla="*/ 0 h 10723"/>
                <a:gd name="connsiteX2" fmla="*/ 11095 w 11095"/>
                <a:gd name="connsiteY2" fmla="*/ 4365 h 10723"/>
                <a:gd name="connsiteX3" fmla="*/ 771 w 11095"/>
                <a:gd name="connsiteY3" fmla="*/ 10723 h 10723"/>
                <a:gd name="connsiteX4" fmla="*/ 0 w 11095"/>
                <a:gd name="connsiteY4" fmla="*/ 4983 h 1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95" h="10723">
                  <a:moveTo>
                    <a:pt x="0" y="4983"/>
                  </a:moveTo>
                  <a:lnTo>
                    <a:pt x="8205" y="0"/>
                  </a:lnTo>
                  <a:lnTo>
                    <a:pt x="11095" y="4365"/>
                  </a:lnTo>
                  <a:lnTo>
                    <a:pt x="771" y="10723"/>
                  </a:lnTo>
                  <a:lnTo>
                    <a:pt x="0" y="4983"/>
                  </a:lnTo>
                  <a:close/>
                </a:path>
              </a:pathLst>
            </a:custGeom>
            <a:solidFill>
              <a:srgbClr val="00B0F0">
                <a:alpha val="58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Freeform 21"/>
            <p:cNvSpPr>
              <a:spLocks/>
            </p:cNvSpPr>
            <p:nvPr/>
          </p:nvSpPr>
          <p:spPr bwMode="auto">
            <a:xfrm>
              <a:off x="4745738" y="2637709"/>
              <a:ext cx="953083" cy="839705"/>
            </a:xfrm>
            <a:custGeom>
              <a:avLst/>
              <a:gdLst>
                <a:gd name="T0" fmla="*/ 0 w 648"/>
                <a:gd name="T1" fmla="*/ 344973 h 588"/>
                <a:gd name="T2" fmla="*/ 894115 w 648"/>
                <a:gd name="T3" fmla="*/ 0 h 588"/>
                <a:gd name="T4" fmla="*/ 1304925 w 648"/>
                <a:gd name="T5" fmla="*/ 580183 h 588"/>
                <a:gd name="T6" fmla="*/ 112771 w 648"/>
                <a:gd name="T7" fmla="*/ 1152525 h 588"/>
                <a:gd name="T8" fmla="*/ 0 w 648"/>
                <a:gd name="T9" fmla="*/ 344973 h 5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48"/>
                <a:gd name="T16" fmla="*/ 0 h 588"/>
                <a:gd name="T17" fmla="*/ 648 w 648"/>
                <a:gd name="T18" fmla="*/ 588 h 588"/>
                <a:gd name="connsiteX0" fmla="*/ 0 w 10317"/>
                <a:gd name="connsiteY0" fmla="*/ 2993 h 10000"/>
                <a:gd name="connsiteX1" fmla="*/ 6852 w 10317"/>
                <a:gd name="connsiteY1" fmla="*/ 0 h 10000"/>
                <a:gd name="connsiteX2" fmla="*/ 10317 w 10317"/>
                <a:gd name="connsiteY2" fmla="*/ 4524 h 10000"/>
                <a:gd name="connsiteX3" fmla="*/ 864 w 10317"/>
                <a:gd name="connsiteY3" fmla="*/ 10000 h 10000"/>
                <a:gd name="connsiteX4" fmla="*/ 0 w 10317"/>
                <a:gd name="connsiteY4" fmla="*/ 299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17" h="10000">
                  <a:moveTo>
                    <a:pt x="0" y="2993"/>
                  </a:moveTo>
                  <a:lnTo>
                    <a:pt x="6852" y="0"/>
                  </a:lnTo>
                  <a:lnTo>
                    <a:pt x="10317" y="4524"/>
                  </a:lnTo>
                  <a:lnTo>
                    <a:pt x="864" y="10000"/>
                  </a:lnTo>
                  <a:lnTo>
                    <a:pt x="0" y="2993"/>
                  </a:lnTo>
                  <a:close/>
                </a:path>
              </a:pathLst>
            </a:custGeom>
            <a:solidFill>
              <a:srgbClr val="00B050">
                <a:alpha val="41000"/>
              </a:srgbClr>
            </a:solidFill>
            <a:ln w="3175">
              <a:noFill/>
            </a:ln>
            <a:effectLst/>
          </p:spPr>
          <p:txBody>
            <a:bodyPr vert="horz" wrap="square" lIns="68558" tIns="34279" rIns="68558" bIns="34279" numCol="1" rtlCol="0" anchor="t" anchorCtr="0" compatLnSpc="1">
              <a:prstTxWarp prst="textNoShape">
                <a:avLst/>
              </a:prstTxWarp>
            </a:bodyPr>
            <a:lstStyle/>
            <a:p>
              <a:pPr defTabSz="914140"/>
              <a:endParaRPr lang="zh-CN" altLang="en-US" sz="135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Text Box 65"/>
            <p:cNvSpPr txBox="1">
              <a:spLocks noChangeArrowheads="1"/>
            </p:cNvSpPr>
            <p:nvPr/>
          </p:nvSpPr>
          <p:spPr bwMode="auto">
            <a:xfrm rot="540000">
              <a:off x="4041741" y="2077042"/>
              <a:ext cx="1138953" cy="356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914140">
                <a:defRPr/>
              </a:pPr>
              <a:r>
                <a:rPr lang="zh-CN" altLang="en-US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城市管理人员</a:t>
              </a:r>
            </a:p>
          </p:txBody>
        </p:sp>
        <p:sp>
          <p:nvSpPr>
            <p:cNvPr id="137" name="Text Box 66"/>
            <p:cNvSpPr txBox="1">
              <a:spLocks noChangeArrowheads="1"/>
            </p:cNvSpPr>
            <p:nvPr/>
          </p:nvSpPr>
          <p:spPr bwMode="auto">
            <a:xfrm rot="600000">
              <a:off x="3630795" y="2983936"/>
              <a:ext cx="1493637" cy="178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914140">
                <a:defRPr/>
              </a:pPr>
              <a:r>
                <a: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城市解决方案人员</a:t>
              </a:r>
            </a:p>
          </p:txBody>
        </p:sp>
        <p:sp>
          <p:nvSpPr>
            <p:cNvPr id="138" name="Text Box 67"/>
            <p:cNvSpPr txBox="1">
              <a:spLocks noChangeArrowheads="1"/>
            </p:cNvSpPr>
            <p:nvPr/>
          </p:nvSpPr>
          <p:spPr bwMode="auto">
            <a:xfrm rot="840000">
              <a:off x="3348068" y="3675749"/>
              <a:ext cx="1274258" cy="178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914140">
                <a:defRPr/>
              </a:pPr>
              <a:r>
                <a: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城市</a:t>
              </a:r>
              <a:r>
                <a:rPr lang="en-US" altLang="zh-CN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CT</a:t>
              </a:r>
              <a:r>
                <a: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工程师</a:t>
              </a:r>
            </a:p>
          </p:txBody>
        </p:sp>
      </p:grpSp>
      <p:sp>
        <p:nvSpPr>
          <p:cNvPr id="139" name="Freeform 58"/>
          <p:cNvSpPr>
            <a:spLocks/>
          </p:cNvSpPr>
          <p:nvPr/>
        </p:nvSpPr>
        <p:spPr bwMode="auto">
          <a:xfrm flipV="1">
            <a:off x="3123441" y="3687140"/>
            <a:ext cx="1026188" cy="202383"/>
          </a:xfrm>
          <a:custGeom>
            <a:avLst/>
            <a:gdLst>
              <a:gd name="T0" fmla="*/ 0 w 1140"/>
              <a:gd name="T1" fmla="*/ 890587 h 561"/>
              <a:gd name="T2" fmla="*/ 574675 w 1140"/>
              <a:gd name="T3" fmla="*/ 0 h 561"/>
              <a:gd name="T4" fmla="*/ 1809750 w 1140"/>
              <a:gd name="T5" fmla="*/ 0 h 561"/>
              <a:gd name="T6" fmla="*/ 0 60000 65536"/>
              <a:gd name="T7" fmla="*/ 0 60000 65536"/>
              <a:gd name="T8" fmla="*/ 0 60000 65536"/>
              <a:gd name="T9" fmla="*/ 0 w 1140"/>
              <a:gd name="T10" fmla="*/ 0 h 561"/>
              <a:gd name="T11" fmla="*/ 1140 w 1140"/>
              <a:gd name="T12" fmla="*/ 561 h 561"/>
              <a:gd name="connsiteX0" fmla="*/ 0 w 10293"/>
              <a:gd name="connsiteY0" fmla="*/ 0 h 9792"/>
              <a:gd name="connsiteX1" fmla="*/ 3468 w 10293"/>
              <a:gd name="connsiteY1" fmla="*/ 9792 h 9792"/>
              <a:gd name="connsiteX2" fmla="*/ 10293 w 10293"/>
              <a:gd name="connsiteY2" fmla="*/ 9792 h 9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93" h="9792">
                <a:moveTo>
                  <a:pt x="0" y="0"/>
                </a:moveTo>
                <a:lnTo>
                  <a:pt x="3468" y="9792"/>
                </a:lnTo>
                <a:lnTo>
                  <a:pt x="10293" y="9792"/>
                </a:lnTo>
              </a:path>
            </a:pathLst>
          </a:custGeom>
          <a:ln w="28575">
            <a:solidFill>
              <a:srgbClr val="0070C0"/>
            </a:solidFill>
            <a:headEnd type="oval" w="lg" len="lg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lIns="73005" tIns="36502" rIns="73005" bIns="36502"/>
          <a:lstStyle/>
          <a:p>
            <a:pPr defTabSz="914140"/>
            <a:endParaRPr lang="zh-CN" altLang="en-US" sz="1575" dirty="0">
              <a:ln w="18415" cmpd="sng">
                <a:solidFill>
                  <a:srgbClr val="FFFFFF"/>
                </a:solidFill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Calibri" pitchFamily="34" charset="0"/>
            </a:endParaRPr>
          </a:p>
        </p:txBody>
      </p:sp>
      <p:sp>
        <p:nvSpPr>
          <p:cNvPr id="140" name="Freeform 58"/>
          <p:cNvSpPr>
            <a:spLocks/>
          </p:cNvSpPr>
          <p:nvPr/>
        </p:nvSpPr>
        <p:spPr bwMode="auto">
          <a:xfrm>
            <a:off x="2951590" y="2538803"/>
            <a:ext cx="1167086" cy="507059"/>
          </a:xfrm>
          <a:custGeom>
            <a:avLst/>
            <a:gdLst>
              <a:gd name="T0" fmla="*/ 0 w 1140"/>
              <a:gd name="T1" fmla="*/ 890587 h 561"/>
              <a:gd name="T2" fmla="*/ 574675 w 1140"/>
              <a:gd name="T3" fmla="*/ 0 h 561"/>
              <a:gd name="T4" fmla="*/ 1809750 w 1140"/>
              <a:gd name="T5" fmla="*/ 0 h 561"/>
              <a:gd name="T6" fmla="*/ 0 60000 65536"/>
              <a:gd name="T7" fmla="*/ 0 60000 65536"/>
              <a:gd name="T8" fmla="*/ 0 60000 65536"/>
              <a:gd name="T9" fmla="*/ 0 w 1140"/>
              <a:gd name="T10" fmla="*/ 0 h 561"/>
              <a:gd name="T11" fmla="*/ 1140 w 1140"/>
              <a:gd name="T12" fmla="*/ 561 h 56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0" h="561">
                <a:moveTo>
                  <a:pt x="0" y="561"/>
                </a:moveTo>
                <a:lnTo>
                  <a:pt x="362" y="0"/>
                </a:lnTo>
                <a:lnTo>
                  <a:pt x="1140" y="0"/>
                </a:lnTo>
              </a:path>
            </a:pathLst>
          </a:custGeom>
          <a:ln w="28575">
            <a:solidFill>
              <a:srgbClr val="0070C0"/>
            </a:solidFill>
            <a:headEnd type="oval" w="lg" len="lg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lIns="73005" tIns="36502" rIns="73005" bIns="36502"/>
          <a:lstStyle/>
          <a:p>
            <a:pPr defTabSz="914140"/>
            <a:endParaRPr lang="zh-CN" altLang="en-US" sz="1575" dirty="0">
              <a:ln w="18415" cmpd="sng">
                <a:solidFill>
                  <a:srgbClr val="FFFFFF"/>
                </a:solidFill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Calibri" pitchFamily="34" charset="0"/>
            </a:endParaRPr>
          </a:p>
        </p:txBody>
      </p:sp>
      <p:sp>
        <p:nvSpPr>
          <p:cNvPr id="141" name="Freeform 58"/>
          <p:cNvSpPr>
            <a:spLocks/>
          </p:cNvSpPr>
          <p:nvPr/>
        </p:nvSpPr>
        <p:spPr bwMode="auto">
          <a:xfrm>
            <a:off x="2410234" y="1387587"/>
            <a:ext cx="1749288" cy="460249"/>
          </a:xfrm>
          <a:custGeom>
            <a:avLst/>
            <a:gdLst>
              <a:gd name="T0" fmla="*/ 0 w 1140"/>
              <a:gd name="T1" fmla="*/ 890587 h 561"/>
              <a:gd name="T2" fmla="*/ 574675 w 1140"/>
              <a:gd name="T3" fmla="*/ 0 h 561"/>
              <a:gd name="T4" fmla="*/ 1809750 w 1140"/>
              <a:gd name="T5" fmla="*/ 0 h 561"/>
              <a:gd name="T6" fmla="*/ 0 60000 65536"/>
              <a:gd name="T7" fmla="*/ 0 60000 65536"/>
              <a:gd name="T8" fmla="*/ 0 60000 65536"/>
              <a:gd name="T9" fmla="*/ 0 w 1140"/>
              <a:gd name="T10" fmla="*/ 0 h 561"/>
              <a:gd name="T11" fmla="*/ 1140 w 1140"/>
              <a:gd name="T12" fmla="*/ 561 h 56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0" h="561">
                <a:moveTo>
                  <a:pt x="0" y="561"/>
                </a:moveTo>
                <a:lnTo>
                  <a:pt x="362" y="0"/>
                </a:lnTo>
                <a:lnTo>
                  <a:pt x="1140" y="0"/>
                </a:lnTo>
              </a:path>
            </a:pathLst>
          </a:custGeom>
          <a:ln w="28575">
            <a:solidFill>
              <a:srgbClr val="0070C0"/>
            </a:solidFill>
            <a:headEnd type="oval" w="lg" len="lg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lIns="73005" tIns="36502" rIns="73005" bIns="36502"/>
          <a:lstStyle/>
          <a:p>
            <a:pPr defTabSz="914140"/>
            <a:endParaRPr lang="zh-CN" altLang="en-US" sz="1575" dirty="0">
              <a:ln w="18415" cmpd="sng">
                <a:solidFill>
                  <a:srgbClr val="FFFFFF"/>
                </a:solidFill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Calibri" pitchFamily="34" charset="0"/>
            </a:endParaRPr>
          </a:p>
        </p:txBody>
      </p:sp>
      <p:sp>
        <p:nvSpPr>
          <p:cNvPr id="142" name="矩形 141"/>
          <p:cNvSpPr/>
          <p:nvPr/>
        </p:nvSpPr>
        <p:spPr>
          <a:xfrm>
            <a:off x="5867400" y="1264746"/>
            <a:ext cx="2448000" cy="254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解决方案发展趋势</a:t>
            </a:r>
          </a:p>
        </p:txBody>
      </p:sp>
      <p:sp>
        <p:nvSpPr>
          <p:cNvPr id="143" name="矩形 142"/>
          <p:cNvSpPr/>
          <p:nvPr/>
        </p:nvSpPr>
        <p:spPr>
          <a:xfrm>
            <a:off x="5867400" y="1570821"/>
            <a:ext cx="2448000" cy="254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T</a:t>
            </a: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技术</a:t>
            </a:r>
          </a:p>
        </p:txBody>
      </p:sp>
      <p:sp>
        <p:nvSpPr>
          <p:cNvPr id="144" name="矩形 143"/>
          <p:cNvSpPr/>
          <p:nvPr/>
        </p:nvSpPr>
        <p:spPr>
          <a:xfrm>
            <a:off x="5867400" y="1876896"/>
            <a:ext cx="2448000" cy="254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高层设计</a:t>
            </a:r>
          </a:p>
        </p:txBody>
      </p:sp>
      <p:sp>
        <p:nvSpPr>
          <p:cNvPr id="145" name="矩形 144"/>
          <p:cNvSpPr/>
          <p:nvPr/>
        </p:nvSpPr>
        <p:spPr>
          <a:xfrm>
            <a:off x="5867400" y="2322859"/>
            <a:ext cx="2448000" cy="215944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慧应用</a:t>
            </a:r>
          </a:p>
        </p:txBody>
      </p:sp>
      <p:sp>
        <p:nvSpPr>
          <p:cNvPr id="146" name="矩形 145"/>
          <p:cNvSpPr/>
          <p:nvPr/>
        </p:nvSpPr>
        <p:spPr>
          <a:xfrm>
            <a:off x="5867400" y="2599849"/>
            <a:ext cx="2448000" cy="215944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496" rIns="13496"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慧城市运营管理   </a:t>
            </a:r>
          </a:p>
        </p:txBody>
      </p:sp>
      <p:sp>
        <p:nvSpPr>
          <p:cNvPr id="147" name="矩形 146"/>
          <p:cNvSpPr/>
          <p:nvPr/>
        </p:nvSpPr>
        <p:spPr>
          <a:xfrm>
            <a:off x="5867400" y="2889975"/>
            <a:ext cx="2448000" cy="215944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慧城市应用赋能 </a:t>
            </a:r>
          </a:p>
        </p:txBody>
      </p:sp>
      <p:sp>
        <p:nvSpPr>
          <p:cNvPr id="148" name="矩形 147"/>
          <p:cNvSpPr/>
          <p:nvPr/>
        </p:nvSpPr>
        <p:spPr>
          <a:xfrm>
            <a:off x="5867400" y="3159910"/>
            <a:ext cx="2448000" cy="215944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慧城市大数据平台</a:t>
            </a:r>
          </a:p>
        </p:txBody>
      </p:sp>
      <p:sp>
        <p:nvSpPr>
          <p:cNvPr id="149" name="矩形 148"/>
          <p:cNvSpPr/>
          <p:nvPr/>
        </p:nvSpPr>
        <p:spPr>
          <a:xfrm>
            <a:off x="5867400" y="3627156"/>
            <a:ext cx="2448000" cy="215944"/>
          </a:xfrm>
          <a:prstGeom prst="rect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城市云数据中心</a:t>
            </a:r>
          </a:p>
        </p:txBody>
      </p:sp>
      <p:sp>
        <p:nvSpPr>
          <p:cNvPr id="150" name="矩形 149"/>
          <p:cNvSpPr/>
          <p:nvPr/>
        </p:nvSpPr>
        <p:spPr>
          <a:xfrm>
            <a:off x="5867400" y="3981941"/>
            <a:ext cx="2448000" cy="215944"/>
          </a:xfrm>
          <a:prstGeom prst="rect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496" rIns="13496"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城市通信网络</a:t>
            </a:r>
          </a:p>
        </p:txBody>
      </p:sp>
      <p:sp>
        <p:nvSpPr>
          <p:cNvPr id="151" name="矩形 150"/>
          <p:cNvSpPr/>
          <p:nvPr/>
        </p:nvSpPr>
        <p:spPr>
          <a:xfrm>
            <a:off x="5867400" y="4324350"/>
            <a:ext cx="2448000" cy="215944"/>
          </a:xfrm>
          <a:prstGeom prst="rect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fontAlgn="ctr">
              <a:buClr>
                <a:srgbClr val="990000"/>
              </a:buClr>
              <a:buSzPct val="60000"/>
              <a:defRPr/>
            </a:pPr>
            <a:r>
              <a:rPr lang="zh-CN" altLang="en-US" sz="10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 pitchFamily="34" charset="0"/>
              </a:rPr>
              <a:t>城市物联网</a:t>
            </a:r>
          </a:p>
        </p:txBody>
      </p:sp>
      <p:sp>
        <p:nvSpPr>
          <p:cNvPr id="152" name="文本框 151"/>
          <p:cNvSpPr txBox="1"/>
          <p:nvPr/>
        </p:nvSpPr>
        <p:spPr>
          <a:xfrm>
            <a:off x="3956701" y="3574789"/>
            <a:ext cx="1802715" cy="995645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i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目标： </a:t>
            </a: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熟悉智慧城市解决方案的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T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，保障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T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的良好运行，及故障处理。</a:t>
            </a:r>
          </a:p>
        </p:txBody>
      </p:sp>
      <p:sp>
        <p:nvSpPr>
          <p:cNvPr id="153" name="文本框 152"/>
          <p:cNvSpPr txBox="1"/>
          <p:nvPr/>
        </p:nvSpPr>
        <p:spPr>
          <a:xfrm>
            <a:off x="3956701" y="2295222"/>
            <a:ext cx="1802715" cy="1174243"/>
          </a:xfrm>
          <a:prstGeom prst="rect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i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目标： </a:t>
            </a: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熟悉智慧城市解决方案，了解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云，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网络，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平台架构，掌握智慧城市解决方案中的智慧应用。</a:t>
            </a:r>
          </a:p>
        </p:txBody>
      </p:sp>
      <p:sp>
        <p:nvSpPr>
          <p:cNvPr id="154" name="文本框 153"/>
          <p:cNvSpPr txBox="1"/>
          <p:nvPr/>
        </p:nvSpPr>
        <p:spPr>
          <a:xfrm>
            <a:off x="3956700" y="1256392"/>
            <a:ext cx="1802717" cy="874538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txBody>
          <a:bodyPr wrap="square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i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目标：</a:t>
            </a:r>
            <a:r>
              <a:rPr lang="zh-CN" altLang="en-US" sz="700" b="1" i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解新技术、新智能应用、智慧城市解决方案发展趋势。</a:t>
            </a:r>
          </a:p>
        </p:txBody>
      </p:sp>
      <p:grpSp>
        <p:nvGrpSpPr>
          <p:cNvPr id="155" name="组合 855"/>
          <p:cNvGrpSpPr/>
          <p:nvPr/>
        </p:nvGrpSpPr>
        <p:grpSpPr>
          <a:xfrm>
            <a:off x="5003529" y="3463557"/>
            <a:ext cx="323916" cy="269930"/>
            <a:chOff x="14066838" y="512763"/>
            <a:chExt cx="895350" cy="906463"/>
          </a:xfrm>
        </p:grpSpPr>
        <p:sp>
          <p:nvSpPr>
            <p:cNvPr id="156" name="Freeform 26"/>
            <p:cNvSpPr>
              <a:spLocks noEditPoints="1"/>
            </p:cNvSpPr>
            <p:nvPr/>
          </p:nvSpPr>
          <p:spPr bwMode="auto">
            <a:xfrm>
              <a:off x="14066838" y="1317626"/>
              <a:ext cx="895350" cy="101600"/>
            </a:xfrm>
            <a:custGeom>
              <a:avLst/>
              <a:gdLst/>
              <a:ahLst/>
              <a:cxnLst>
                <a:cxn ang="0">
                  <a:pos x="266" y="32"/>
                </a:cxn>
                <a:cxn ang="0">
                  <a:pos x="16" y="32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66" y="0"/>
                </a:cxn>
                <a:cxn ang="0">
                  <a:pos x="282" y="16"/>
                </a:cxn>
                <a:cxn ang="0">
                  <a:pos x="266" y="32"/>
                </a:cxn>
                <a:cxn ang="0">
                  <a:pos x="16" y="6"/>
                </a:cxn>
                <a:cxn ang="0">
                  <a:pos x="6" y="16"/>
                </a:cxn>
                <a:cxn ang="0">
                  <a:pos x="16" y="26"/>
                </a:cxn>
                <a:cxn ang="0">
                  <a:pos x="266" y="26"/>
                </a:cxn>
                <a:cxn ang="0">
                  <a:pos x="276" y="16"/>
                </a:cxn>
                <a:cxn ang="0">
                  <a:pos x="266" y="6"/>
                </a:cxn>
                <a:cxn ang="0">
                  <a:pos x="16" y="6"/>
                </a:cxn>
              </a:cxnLst>
              <a:rect l="0" t="0" r="r" b="b"/>
              <a:pathLst>
                <a:path w="282" h="32">
                  <a:moveTo>
                    <a:pt x="26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4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4" y="0"/>
                    <a:pt x="282" y="7"/>
                    <a:pt x="282" y="16"/>
                  </a:cubicBezTo>
                  <a:cubicBezTo>
                    <a:pt x="282" y="24"/>
                    <a:pt x="274" y="32"/>
                    <a:pt x="266" y="32"/>
                  </a:cubicBezTo>
                  <a:close/>
                  <a:moveTo>
                    <a:pt x="16" y="6"/>
                  </a:moveTo>
                  <a:cubicBezTo>
                    <a:pt x="10" y="6"/>
                    <a:pt x="6" y="10"/>
                    <a:pt x="6" y="16"/>
                  </a:cubicBezTo>
                  <a:cubicBezTo>
                    <a:pt x="6" y="21"/>
                    <a:pt x="10" y="26"/>
                    <a:pt x="16" y="26"/>
                  </a:cubicBezTo>
                  <a:cubicBezTo>
                    <a:pt x="266" y="26"/>
                    <a:pt x="266" y="26"/>
                    <a:pt x="266" y="26"/>
                  </a:cubicBezTo>
                  <a:cubicBezTo>
                    <a:pt x="271" y="26"/>
                    <a:pt x="276" y="21"/>
                    <a:pt x="276" y="16"/>
                  </a:cubicBezTo>
                  <a:cubicBezTo>
                    <a:pt x="276" y="10"/>
                    <a:pt x="271" y="6"/>
                    <a:pt x="266" y="6"/>
                  </a:cubicBezTo>
                  <a:lnTo>
                    <a:pt x="16" y="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7" name="Freeform 27"/>
            <p:cNvSpPr>
              <a:spLocks noEditPoints="1"/>
            </p:cNvSpPr>
            <p:nvPr/>
          </p:nvSpPr>
          <p:spPr bwMode="auto">
            <a:xfrm>
              <a:off x="14168438" y="879476"/>
              <a:ext cx="679450" cy="428625"/>
            </a:xfrm>
            <a:custGeom>
              <a:avLst/>
              <a:gdLst/>
              <a:ahLst/>
              <a:cxnLst>
                <a:cxn ang="0">
                  <a:pos x="161" y="135"/>
                </a:cxn>
                <a:cxn ang="0">
                  <a:pos x="162" y="131"/>
                </a:cxn>
                <a:cxn ang="0">
                  <a:pos x="173" y="62"/>
                </a:cxn>
                <a:cxn ang="0">
                  <a:pos x="172" y="59"/>
                </a:cxn>
                <a:cxn ang="0">
                  <a:pos x="171" y="58"/>
                </a:cxn>
                <a:cxn ang="0">
                  <a:pos x="168" y="56"/>
                </a:cxn>
                <a:cxn ang="0">
                  <a:pos x="112" y="56"/>
                </a:cxn>
                <a:cxn ang="0">
                  <a:pos x="109" y="50"/>
                </a:cxn>
                <a:cxn ang="0">
                  <a:pos x="106" y="56"/>
                </a:cxn>
                <a:cxn ang="0">
                  <a:pos x="50" y="56"/>
                </a:cxn>
                <a:cxn ang="0">
                  <a:pos x="47" y="58"/>
                </a:cxn>
                <a:cxn ang="0">
                  <a:pos x="46" y="59"/>
                </a:cxn>
                <a:cxn ang="0">
                  <a:pos x="45" y="62"/>
                </a:cxn>
                <a:cxn ang="0">
                  <a:pos x="57" y="133"/>
                </a:cxn>
                <a:cxn ang="0">
                  <a:pos x="53" y="133"/>
                </a:cxn>
                <a:cxn ang="0">
                  <a:pos x="17" y="132"/>
                </a:cxn>
                <a:cxn ang="0">
                  <a:pos x="4" y="91"/>
                </a:cxn>
                <a:cxn ang="0">
                  <a:pos x="4" y="90"/>
                </a:cxn>
                <a:cxn ang="0">
                  <a:pos x="4" y="90"/>
                </a:cxn>
                <a:cxn ang="0">
                  <a:pos x="109" y="0"/>
                </a:cxn>
                <a:cxn ang="0">
                  <a:pos x="211" y="89"/>
                </a:cxn>
                <a:cxn ang="0">
                  <a:pos x="211" y="91"/>
                </a:cxn>
                <a:cxn ang="0">
                  <a:pos x="207" y="127"/>
                </a:cxn>
                <a:cxn ang="0">
                  <a:pos x="191" y="133"/>
                </a:cxn>
                <a:cxn ang="0">
                  <a:pos x="165" y="134"/>
                </a:cxn>
                <a:cxn ang="0">
                  <a:pos x="161" y="135"/>
                </a:cxn>
                <a:cxn ang="0">
                  <a:pos x="176" y="55"/>
                </a:cxn>
                <a:cxn ang="0">
                  <a:pos x="179" y="63"/>
                </a:cxn>
                <a:cxn ang="0">
                  <a:pos x="179" y="63"/>
                </a:cxn>
                <a:cxn ang="0">
                  <a:pos x="168" y="128"/>
                </a:cxn>
                <a:cxn ang="0">
                  <a:pos x="191" y="127"/>
                </a:cxn>
                <a:cxn ang="0">
                  <a:pos x="203" y="123"/>
                </a:cxn>
                <a:cxn ang="0">
                  <a:pos x="205" y="91"/>
                </a:cxn>
                <a:cxn ang="0">
                  <a:pos x="205" y="90"/>
                </a:cxn>
                <a:cxn ang="0">
                  <a:pos x="109" y="6"/>
                </a:cxn>
                <a:cxn ang="0">
                  <a:pos x="10" y="90"/>
                </a:cxn>
                <a:cxn ang="0">
                  <a:pos x="10" y="90"/>
                </a:cxn>
                <a:cxn ang="0">
                  <a:pos x="10" y="92"/>
                </a:cxn>
                <a:cxn ang="0">
                  <a:pos x="20" y="126"/>
                </a:cxn>
                <a:cxn ang="0">
                  <a:pos x="20" y="126"/>
                </a:cxn>
                <a:cxn ang="0">
                  <a:pos x="50" y="127"/>
                </a:cxn>
                <a:cxn ang="0">
                  <a:pos x="39" y="63"/>
                </a:cxn>
                <a:cxn ang="0">
                  <a:pos x="42" y="55"/>
                </a:cxn>
                <a:cxn ang="0">
                  <a:pos x="50" y="50"/>
                </a:cxn>
                <a:cxn ang="0">
                  <a:pos x="102" y="50"/>
                </a:cxn>
                <a:cxn ang="0">
                  <a:pos x="104" y="46"/>
                </a:cxn>
                <a:cxn ang="0">
                  <a:pos x="109" y="42"/>
                </a:cxn>
                <a:cxn ang="0">
                  <a:pos x="114" y="47"/>
                </a:cxn>
                <a:cxn ang="0">
                  <a:pos x="116" y="50"/>
                </a:cxn>
                <a:cxn ang="0">
                  <a:pos x="168" y="50"/>
                </a:cxn>
                <a:cxn ang="0">
                  <a:pos x="176" y="55"/>
                </a:cxn>
              </a:cxnLst>
              <a:rect l="0" t="0" r="r" b="b"/>
              <a:pathLst>
                <a:path w="214" h="135">
                  <a:moveTo>
                    <a:pt x="161" y="135"/>
                  </a:moveTo>
                  <a:cubicBezTo>
                    <a:pt x="162" y="131"/>
                    <a:pt x="162" y="131"/>
                    <a:pt x="162" y="131"/>
                  </a:cubicBezTo>
                  <a:cubicBezTo>
                    <a:pt x="173" y="62"/>
                    <a:pt x="173" y="62"/>
                    <a:pt x="173" y="62"/>
                  </a:cubicBezTo>
                  <a:cubicBezTo>
                    <a:pt x="173" y="61"/>
                    <a:pt x="172" y="59"/>
                    <a:pt x="172" y="59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0" y="57"/>
                    <a:pt x="169" y="56"/>
                    <a:pt x="168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9" y="56"/>
                    <a:pt x="48" y="57"/>
                    <a:pt x="47" y="58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5" y="61"/>
                    <a:pt x="45" y="62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24" y="133"/>
                    <a:pt x="19" y="133"/>
                    <a:pt x="17" y="132"/>
                  </a:cubicBezTo>
                  <a:cubicBezTo>
                    <a:pt x="0" y="124"/>
                    <a:pt x="2" y="110"/>
                    <a:pt x="4" y="91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42"/>
                    <a:pt x="53" y="0"/>
                    <a:pt x="109" y="0"/>
                  </a:cubicBezTo>
                  <a:cubicBezTo>
                    <a:pt x="162" y="0"/>
                    <a:pt x="206" y="39"/>
                    <a:pt x="211" y="89"/>
                  </a:cubicBezTo>
                  <a:cubicBezTo>
                    <a:pt x="211" y="91"/>
                    <a:pt x="211" y="91"/>
                    <a:pt x="211" y="91"/>
                  </a:cubicBezTo>
                  <a:cubicBezTo>
                    <a:pt x="212" y="105"/>
                    <a:pt x="214" y="119"/>
                    <a:pt x="207" y="127"/>
                  </a:cubicBezTo>
                  <a:cubicBezTo>
                    <a:pt x="204" y="131"/>
                    <a:pt x="199" y="133"/>
                    <a:pt x="191" y="133"/>
                  </a:cubicBezTo>
                  <a:cubicBezTo>
                    <a:pt x="175" y="133"/>
                    <a:pt x="167" y="134"/>
                    <a:pt x="165" y="134"/>
                  </a:cubicBezTo>
                  <a:lnTo>
                    <a:pt x="161" y="135"/>
                  </a:lnTo>
                  <a:close/>
                  <a:moveTo>
                    <a:pt x="176" y="55"/>
                  </a:moveTo>
                  <a:cubicBezTo>
                    <a:pt x="178" y="57"/>
                    <a:pt x="179" y="60"/>
                    <a:pt x="179" y="63"/>
                  </a:cubicBezTo>
                  <a:cubicBezTo>
                    <a:pt x="179" y="63"/>
                    <a:pt x="179" y="63"/>
                    <a:pt x="179" y="63"/>
                  </a:cubicBezTo>
                  <a:cubicBezTo>
                    <a:pt x="168" y="128"/>
                    <a:pt x="168" y="128"/>
                    <a:pt x="168" y="128"/>
                  </a:cubicBezTo>
                  <a:cubicBezTo>
                    <a:pt x="173" y="127"/>
                    <a:pt x="180" y="127"/>
                    <a:pt x="191" y="127"/>
                  </a:cubicBezTo>
                  <a:cubicBezTo>
                    <a:pt x="197" y="127"/>
                    <a:pt x="200" y="126"/>
                    <a:pt x="203" y="123"/>
                  </a:cubicBezTo>
                  <a:cubicBezTo>
                    <a:pt x="208" y="117"/>
                    <a:pt x="206" y="105"/>
                    <a:pt x="205" y="91"/>
                  </a:cubicBezTo>
                  <a:cubicBezTo>
                    <a:pt x="205" y="90"/>
                    <a:pt x="205" y="90"/>
                    <a:pt x="205" y="90"/>
                  </a:cubicBezTo>
                  <a:cubicBezTo>
                    <a:pt x="201" y="43"/>
                    <a:pt x="159" y="6"/>
                    <a:pt x="109" y="6"/>
                  </a:cubicBezTo>
                  <a:cubicBezTo>
                    <a:pt x="56" y="6"/>
                    <a:pt x="10" y="45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7" y="112"/>
                    <a:pt x="7" y="121"/>
                    <a:pt x="20" y="126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3" y="127"/>
                    <a:pt x="35" y="127"/>
                    <a:pt x="50" y="127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0"/>
                    <a:pt x="40" y="57"/>
                    <a:pt x="42" y="55"/>
                  </a:cubicBezTo>
                  <a:cubicBezTo>
                    <a:pt x="44" y="52"/>
                    <a:pt x="47" y="50"/>
                    <a:pt x="50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5" y="43"/>
                    <a:pt x="108" y="42"/>
                    <a:pt x="109" y="42"/>
                  </a:cubicBezTo>
                  <a:cubicBezTo>
                    <a:pt x="110" y="42"/>
                    <a:pt x="113" y="43"/>
                    <a:pt x="114" y="4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71" y="50"/>
                    <a:pt x="174" y="52"/>
                    <a:pt x="176" y="5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8" name="Freeform 28"/>
            <p:cNvSpPr>
              <a:spLocks noEditPoints="1"/>
            </p:cNvSpPr>
            <p:nvPr/>
          </p:nvSpPr>
          <p:spPr bwMode="auto">
            <a:xfrm>
              <a:off x="14441488" y="930276"/>
              <a:ext cx="146050" cy="82550"/>
            </a:xfrm>
            <a:custGeom>
              <a:avLst/>
              <a:gdLst/>
              <a:ahLst/>
              <a:cxnLst>
                <a:cxn ang="0">
                  <a:pos x="23" y="26"/>
                </a:cxn>
                <a:cxn ang="0">
                  <a:pos x="17" y="23"/>
                </a:cxn>
                <a:cxn ang="0">
                  <a:pos x="3" y="9"/>
                </a:cxn>
                <a:cxn ang="0">
                  <a:pos x="1" y="3"/>
                </a:cxn>
                <a:cxn ang="0">
                  <a:pos x="7" y="0"/>
                </a:cxn>
                <a:cxn ang="0">
                  <a:pos x="39" y="0"/>
                </a:cxn>
                <a:cxn ang="0">
                  <a:pos x="45" y="3"/>
                </a:cxn>
                <a:cxn ang="0">
                  <a:pos x="43" y="9"/>
                </a:cxn>
                <a:cxn ang="0">
                  <a:pos x="29" y="23"/>
                </a:cxn>
                <a:cxn ang="0">
                  <a:pos x="23" y="26"/>
                </a:cxn>
                <a:cxn ang="0">
                  <a:pos x="8" y="6"/>
                </a:cxn>
                <a:cxn ang="0">
                  <a:pos x="21" y="19"/>
                </a:cxn>
                <a:cxn ang="0">
                  <a:pos x="23" y="20"/>
                </a:cxn>
                <a:cxn ang="0">
                  <a:pos x="25" y="19"/>
                </a:cxn>
                <a:cxn ang="0">
                  <a:pos x="38" y="6"/>
                </a:cxn>
                <a:cxn ang="0">
                  <a:pos x="8" y="6"/>
                </a:cxn>
              </a:cxnLst>
              <a:rect l="0" t="0" r="r" b="b"/>
              <a:pathLst>
                <a:path w="46" h="26">
                  <a:moveTo>
                    <a:pt x="23" y="26"/>
                  </a:moveTo>
                  <a:cubicBezTo>
                    <a:pt x="20" y="26"/>
                    <a:pt x="18" y="25"/>
                    <a:pt x="17" y="2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2" y="1"/>
                    <a:pt x="4" y="0"/>
                    <a:pt x="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1"/>
                    <a:pt x="45" y="3"/>
                  </a:cubicBezTo>
                  <a:cubicBezTo>
                    <a:pt x="45" y="4"/>
                    <a:pt x="46" y="6"/>
                    <a:pt x="43" y="9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8" y="25"/>
                    <a:pt x="25" y="26"/>
                    <a:pt x="23" y="26"/>
                  </a:cubicBezTo>
                  <a:close/>
                  <a:moveTo>
                    <a:pt x="8" y="6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2" y="19"/>
                    <a:pt x="22" y="20"/>
                    <a:pt x="23" y="20"/>
                  </a:cubicBezTo>
                  <a:cubicBezTo>
                    <a:pt x="24" y="20"/>
                    <a:pt x="24" y="19"/>
                    <a:pt x="25" y="19"/>
                  </a:cubicBezTo>
                  <a:cubicBezTo>
                    <a:pt x="38" y="6"/>
                    <a:pt x="38" y="6"/>
                    <a:pt x="38" y="6"/>
                  </a:cubicBezTo>
                  <a:lnTo>
                    <a:pt x="8" y="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9" name="Freeform 29"/>
            <p:cNvSpPr>
              <a:spLocks noEditPoints="1"/>
            </p:cNvSpPr>
            <p:nvPr/>
          </p:nvSpPr>
          <p:spPr bwMode="auto">
            <a:xfrm>
              <a:off x="14336713" y="512763"/>
              <a:ext cx="355600" cy="349250"/>
            </a:xfrm>
            <a:custGeom>
              <a:avLst/>
              <a:gdLst/>
              <a:ahLst/>
              <a:cxnLst>
                <a:cxn ang="0">
                  <a:pos x="56" y="110"/>
                </a:cxn>
                <a:cxn ang="0">
                  <a:pos x="50" y="110"/>
                </a:cxn>
                <a:cxn ang="0">
                  <a:pos x="1" y="61"/>
                </a:cxn>
                <a:cxn ang="0">
                  <a:pos x="15" y="19"/>
                </a:cxn>
                <a:cxn ang="0">
                  <a:pos x="62" y="1"/>
                </a:cxn>
                <a:cxn ang="0">
                  <a:pos x="111" y="50"/>
                </a:cxn>
                <a:cxn ang="0">
                  <a:pos x="97" y="92"/>
                </a:cxn>
                <a:cxn ang="0">
                  <a:pos x="56" y="110"/>
                </a:cxn>
                <a:cxn ang="0">
                  <a:pos x="56" y="7"/>
                </a:cxn>
                <a:cxn ang="0">
                  <a:pos x="19" y="23"/>
                </a:cxn>
                <a:cxn ang="0">
                  <a:pos x="7" y="60"/>
                </a:cxn>
                <a:cxn ang="0">
                  <a:pos x="51" y="104"/>
                </a:cxn>
                <a:cxn ang="0">
                  <a:pos x="92" y="88"/>
                </a:cxn>
                <a:cxn ang="0">
                  <a:pos x="105" y="51"/>
                </a:cxn>
                <a:cxn ang="0">
                  <a:pos x="61" y="7"/>
                </a:cxn>
                <a:cxn ang="0">
                  <a:pos x="56" y="7"/>
                </a:cxn>
              </a:cxnLst>
              <a:rect l="0" t="0" r="r" b="b"/>
              <a:pathLst>
                <a:path w="112" h="110">
                  <a:moveTo>
                    <a:pt x="56" y="110"/>
                  </a:moveTo>
                  <a:cubicBezTo>
                    <a:pt x="54" y="110"/>
                    <a:pt x="52" y="110"/>
                    <a:pt x="50" y="110"/>
                  </a:cubicBezTo>
                  <a:cubicBezTo>
                    <a:pt x="24" y="107"/>
                    <a:pt x="3" y="86"/>
                    <a:pt x="1" y="61"/>
                  </a:cubicBezTo>
                  <a:cubicBezTo>
                    <a:pt x="0" y="45"/>
                    <a:pt x="5" y="31"/>
                    <a:pt x="15" y="19"/>
                  </a:cubicBezTo>
                  <a:cubicBezTo>
                    <a:pt x="27" y="6"/>
                    <a:pt x="44" y="0"/>
                    <a:pt x="62" y="1"/>
                  </a:cubicBezTo>
                  <a:cubicBezTo>
                    <a:pt x="87" y="3"/>
                    <a:pt x="108" y="24"/>
                    <a:pt x="111" y="50"/>
                  </a:cubicBezTo>
                  <a:cubicBezTo>
                    <a:pt x="112" y="66"/>
                    <a:pt x="107" y="81"/>
                    <a:pt x="97" y="92"/>
                  </a:cubicBezTo>
                  <a:cubicBezTo>
                    <a:pt x="86" y="104"/>
                    <a:pt x="72" y="110"/>
                    <a:pt x="56" y="110"/>
                  </a:cubicBezTo>
                  <a:close/>
                  <a:moveTo>
                    <a:pt x="56" y="7"/>
                  </a:moveTo>
                  <a:cubicBezTo>
                    <a:pt x="42" y="7"/>
                    <a:pt x="29" y="13"/>
                    <a:pt x="19" y="23"/>
                  </a:cubicBezTo>
                  <a:cubicBezTo>
                    <a:pt x="10" y="33"/>
                    <a:pt x="6" y="47"/>
                    <a:pt x="7" y="60"/>
                  </a:cubicBezTo>
                  <a:cubicBezTo>
                    <a:pt x="9" y="83"/>
                    <a:pt x="28" y="102"/>
                    <a:pt x="51" y="104"/>
                  </a:cubicBezTo>
                  <a:cubicBezTo>
                    <a:pt x="67" y="106"/>
                    <a:pt x="82" y="100"/>
                    <a:pt x="92" y="88"/>
                  </a:cubicBezTo>
                  <a:cubicBezTo>
                    <a:pt x="102" y="78"/>
                    <a:pt x="106" y="65"/>
                    <a:pt x="105" y="51"/>
                  </a:cubicBezTo>
                  <a:cubicBezTo>
                    <a:pt x="102" y="28"/>
                    <a:pt x="84" y="9"/>
                    <a:pt x="61" y="7"/>
                  </a:cubicBezTo>
                  <a:cubicBezTo>
                    <a:pt x="60" y="7"/>
                    <a:pt x="58" y="7"/>
                    <a:pt x="56" y="7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60" name="Freeform 30"/>
            <p:cNvSpPr>
              <a:spLocks noEditPoints="1"/>
            </p:cNvSpPr>
            <p:nvPr/>
          </p:nvSpPr>
          <p:spPr bwMode="auto">
            <a:xfrm>
              <a:off x="14447838" y="1146176"/>
              <a:ext cx="123825" cy="66675"/>
            </a:xfrm>
            <a:custGeom>
              <a:avLst/>
              <a:gdLst/>
              <a:ahLst/>
              <a:cxnLst>
                <a:cxn ang="0">
                  <a:pos x="66" y="42"/>
                </a:cxn>
                <a:cxn ang="0">
                  <a:pos x="10" y="42"/>
                </a:cxn>
                <a:cxn ang="0">
                  <a:pos x="0" y="0"/>
                </a:cxn>
                <a:cxn ang="0">
                  <a:pos x="78" y="0"/>
                </a:cxn>
                <a:cxn ang="0">
                  <a:pos x="66" y="42"/>
                </a:cxn>
                <a:cxn ang="0">
                  <a:pos x="20" y="30"/>
                </a:cxn>
                <a:cxn ang="0">
                  <a:pos x="58" y="30"/>
                </a:cxn>
                <a:cxn ang="0">
                  <a:pos x="62" y="12"/>
                </a:cxn>
                <a:cxn ang="0">
                  <a:pos x="16" y="12"/>
                </a:cxn>
                <a:cxn ang="0">
                  <a:pos x="20" y="30"/>
                </a:cxn>
              </a:cxnLst>
              <a:rect l="0" t="0" r="r" b="b"/>
              <a:pathLst>
                <a:path w="78" h="42">
                  <a:moveTo>
                    <a:pt x="66" y="42"/>
                  </a:moveTo>
                  <a:lnTo>
                    <a:pt x="10" y="42"/>
                  </a:lnTo>
                  <a:lnTo>
                    <a:pt x="0" y="0"/>
                  </a:lnTo>
                  <a:lnTo>
                    <a:pt x="78" y="0"/>
                  </a:lnTo>
                  <a:lnTo>
                    <a:pt x="66" y="42"/>
                  </a:lnTo>
                  <a:close/>
                  <a:moveTo>
                    <a:pt x="20" y="30"/>
                  </a:moveTo>
                  <a:lnTo>
                    <a:pt x="58" y="30"/>
                  </a:lnTo>
                  <a:lnTo>
                    <a:pt x="62" y="12"/>
                  </a:lnTo>
                  <a:lnTo>
                    <a:pt x="16" y="12"/>
                  </a:lnTo>
                  <a:lnTo>
                    <a:pt x="20" y="3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161" name="Freeform 72"/>
          <p:cNvSpPr>
            <a:spLocks noEditPoints="1"/>
          </p:cNvSpPr>
          <p:nvPr/>
        </p:nvSpPr>
        <p:spPr bwMode="auto">
          <a:xfrm>
            <a:off x="5381263" y="3477503"/>
            <a:ext cx="323916" cy="269930"/>
          </a:xfrm>
          <a:custGeom>
            <a:avLst/>
            <a:gdLst/>
            <a:ahLst/>
            <a:cxnLst>
              <a:cxn ang="0">
                <a:pos x="280" y="369"/>
              </a:cxn>
              <a:cxn ang="0">
                <a:pos x="216" y="289"/>
              </a:cxn>
              <a:cxn ang="0">
                <a:pos x="178" y="248"/>
              </a:cxn>
              <a:cxn ang="0">
                <a:pos x="217" y="249"/>
              </a:cxn>
              <a:cxn ang="0">
                <a:pos x="226" y="229"/>
              </a:cxn>
              <a:cxn ang="0">
                <a:pos x="303" y="321"/>
              </a:cxn>
              <a:cxn ang="0">
                <a:pos x="336" y="345"/>
              </a:cxn>
              <a:cxn ang="0">
                <a:pos x="315" y="347"/>
              </a:cxn>
              <a:cxn ang="0">
                <a:pos x="315" y="387"/>
              </a:cxn>
              <a:cxn ang="0">
                <a:pos x="297" y="365"/>
              </a:cxn>
              <a:cxn ang="0">
                <a:pos x="311" y="343"/>
              </a:cxn>
              <a:cxn ang="0">
                <a:pos x="329" y="341"/>
              </a:cxn>
              <a:cxn ang="0">
                <a:pos x="238" y="264"/>
              </a:cxn>
              <a:cxn ang="0">
                <a:pos x="206" y="230"/>
              </a:cxn>
              <a:cxn ang="0">
                <a:pos x="221" y="253"/>
              </a:cxn>
              <a:cxn ang="0">
                <a:pos x="200" y="267"/>
              </a:cxn>
              <a:cxn ang="0">
                <a:pos x="199" y="278"/>
              </a:cxn>
              <a:cxn ang="0">
                <a:pos x="249" y="314"/>
              </a:cxn>
              <a:cxn ang="0">
                <a:pos x="285" y="366"/>
              </a:cxn>
              <a:cxn ang="0">
                <a:pos x="178" y="357"/>
              </a:cxn>
              <a:cxn ang="0">
                <a:pos x="206" y="385"/>
              </a:cxn>
              <a:cxn ang="0">
                <a:pos x="248" y="333"/>
              </a:cxn>
              <a:cxn ang="0">
                <a:pos x="186" y="339"/>
              </a:cxn>
              <a:cxn ang="0">
                <a:pos x="31" y="220"/>
              </a:cxn>
              <a:cxn ang="0">
                <a:pos x="130" y="224"/>
              </a:cxn>
              <a:cxn ang="0">
                <a:pos x="200" y="198"/>
              </a:cxn>
              <a:cxn ang="0">
                <a:pos x="202" y="205"/>
              </a:cxn>
              <a:cxn ang="0">
                <a:pos x="97" y="205"/>
              </a:cxn>
              <a:cxn ang="0">
                <a:pos x="186" y="333"/>
              </a:cxn>
              <a:cxn ang="0">
                <a:pos x="260" y="275"/>
              </a:cxn>
              <a:cxn ang="0">
                <a:pos x="277" y="222"/>
              </a:cxn>
              <a:cxn ang="0">
                <a:pos x="322" y="301"/>
              </a:cxn>
              <a:cxn ang="0">
                <a:pos x="268" y="275"/>
              </a:cxn>
              <a:cxn ang="0">
                <a:pos x="322" y="293"/>
              </a:cxn>
              <a:cxn ang="0">
                <a:pos x="279" y="229"/>
              </a:cxn>
              <a:cxn ang="0">
                <a:pos x="268" y="275"/>
              </a:cxn>
              <a:cxn ang="0">
                <a:pos x="87" y="162"/>
              </a:cxn>
              <a:cxn ang="0">
                <a:pos x="72" y="119"/>
              </a:cxn>
              <a:cxn ang="0">
                <a:pos x="226" y="119"/>
              </a:cxn>
              <a:cxn ang="0">
                <a:pos x="169" y="216"/>
              </a:cxn>
              <a:cxn ang="0">
                <a:pos x="91" y="158"/>
              </a:cxn>
              <a:cxn ang="0">
                <a:pos x="131" y="210"/>
              </a:cxn>
              <a:cxn ang="0">
                <a:pos x="206" y="158"/>
              </a:cxn>
              <a:cxn ang="0">
                <a:pos x="220" y="122"/>
              </a:cxn>
              <a:cxn ang="0">
                <a:pos x="231" y="109"/>
              </a:cxn>
              <a:cxn ang="0">
                <a:pos x="68" y="93"/>
              </a:cxn>
              <a:cxn ang="0">
                <a:pos x="109" y="21"/>
              </a:cxn>
              <a:cxn ang="0">
                <a:pos x="117" y="42"/>
              </a:cxn>
              <a:cxn ang="0">
                <a:pos x="179" y="9"/>
              </a:cxn>
              <a:cxn ang="0">
                <a:pos x="186" y="23"/>
              </a:cxn>
              <a:cxn ang="0">
                <a:pos x="225" y="80"/>
              </a:cxn>
              <a:cxn ang="0">
                <a:pos x="231" y="106"/>
              </a:cxn>
              <a:cxn ang="0">
                <a:pos x="225" y="103"/>
              </a:cxn>
              <a:cxn ang="0">
                <a:pos x="222" y="86"/>
              </a:cxn>
              <a:cxn ang="0">
                <a:pos x="176" y="84"/>
              </a:cxn>
              <a:cxn ang="0">
                <a:pos x="167" y="103"/>
              </a:cxn>
              <a:cxn ang="0">
                <a:pos x="178" y="20"/>
              </a:cxn>
              <a:cxn ang="0">
                <a:pos x="121" y="20"/>
              </a:cxn>
              <a:cxn ang="0">
                <a:pos x="132" y="103"/>
              </a:cxn>
              <a:cxn ang="0">
                <a:pos x="123" y="84"/>
              </a:cxn>
              <a:cxn ang="0">
                <a:pos x="77" y="86"/>
              </a:cxn>
            </a:cxnLst>
            <a:rect l="0" t="0" r="r" b="b"/>
            <a:pathLst>
              <a:path w="351" h="387">
                <a:moveTo>
                  <a:pt x="315" y="387"/>
                </a:moveTo>
                <a:cubicBezTo>
                  <a:pt x="292" y="381"/>
                  <a:pt x="292" y="381"/>
                  <a:pt x="292" y="381"/>
                </a:cubicBezTo>
                <a:cubicBezTo>
                  <a:pt x="280" y="369"/>
                  <a:pt x="280" y="369"/>
                  <a:pt x="280" y="369"/>
                </a:cubicBezTo>
                <a:cubicBezTo>
                  <a:pt x="275" y="349"/>
                  <a:pt x="275" y="349"/>
                  <a:pt x="275" y="349"/>
                </a:cubicBezTo>
                <a:cubicBezTo>
                  <a:pt x="264" y="338"/>
                  <a:pt x="255" y="328"/>
                  <a:pt x="245" y="319"/>
                </a:cubicBezTo>
                <a:cubicBezTo>
                  <a:pt x="236" y="309"/>
                  <a:pt x="226" y="299"/>
                  <a:pt x="216" y="289"/>
                </a:cubicBezTo>
                <a:cubicBezTo>
                  <a:pt x="196" y="284"/>
                  <a:pt x="196" y="284"/>
                  <a:pt x="196" y="284"/>
                </a:cubicBezTo>
                <a:cubicBezTo>
                  <a:pt x="184" y="272"/>
                  <a:pt x="184" y="272"/>
                  <a:pt x="184" y="272"/>
                </a:cubicBezTo>
                <a:cubicBezTo>
                  <a:pt x="178" y="248"/>
                  <a:pt x="178" y="248"/>
                  <a:pt x="178" y="248"/>
                </a:cubicBezTo>
                <a:cubicBezTo>
                  <a:pt x="184" y="242"/>
                  <a:pt x="184" y="242"/>
                  <a:pt x="184" y="242"/>
                </a:cubicBezTo>
                <a:cubicBezTo>
                  <a:pt x="204" y="262"/>
                  <a:pt x="204" y="262"/>
                  <a:pt x="204" y="262"/>
                </a:cubicBezTo>
                <a:cubicBezTo>
                  <a:pt x="217" y="249"/>
                  <a:pt x="217" y="249"/>
                  <a:pt x="217" y="249"/>
                </a:cubicBezTo>
                <a:cubicBezTo>
                  <a:pt x="197" y="229"/>
                  <a:pt x="197" y="229"/>
                  <a:pt x="197" y="229"/>
                </a:cubicBezTo>
                <a:cubicBezTo>
                  <a:pt x="203" y="223"/>
                  <a:pt x="203" y="223"/>
                  <a:pt x="203" y="223"/>
                </a:cubicBezTo>
                <a:cubicBezTo>
                  <a:pt x="226" y="229"/>
                  <a:pt x="226" y="229"/>
                  <a:pt x="226" y="229"/>
                </a:cubicBezTo>
                <a:cubicBezTo>
                  <a:pt x="238" y="241"/>
                  <a:pt x="238" y="241"/>
                  <a:pt x="238" y="241"/>
                </a:cubicBezTo>
                <a:cubicBezTo>
                  <a:pt x="243" y="261"/>
                  <a:pt x="243" y="261"/>
                  <a:pt x="243" y="261"/>
                </a:cubicBezTo>
                <a:cubicBezTo>
                  <a:pt x="303" y="321"/>
                  <a:pt x="303" y="321"/>
                  <a:pt x="303" y="321"/>
                </a:cubicBezTo>
                <a:cubicBezTo>
                  <a:pt x="322" y="326"/>
                  <a:pt x="322" y="326"/>
                  <a:pt x="322" y="326"/>
                </a:cubicBezTo>
                <a:cubicBezTo>
                  <a:pt x="334" y="338"/>
                  <a:pt x="334" y="338"/>
                  <a:pt x="334" y="338"/>
                </a:cubicBezTo>
                <a:cubicBezTo>
                  <a:pt x="336" y="345"/>
                  <a:pt x="336" y="345"/>
                  <a:pt x="336" y="345"/>
                </a:cubicBezTo>
                <a:cubicBezTo>
                  <a:pt x="340" y="361"/>
                  <a:pt x="340" y="361"/>
                  <a:pt x="340" y="361"/>
                </a:cubicBezTo>
                <a:cubicBezTo>
                  <a:pt x="334" y="368"/>
                  <a:pt x="334" y="368"/>
                  <a:pt x="334" y="368"/>
                </a:cubicBezTo>
                <a:cubicBezTo>
                  <a:pt x="315" y="347"/>
                  <a:pt x="315" y="347"/>
                  <a:pt x="315" y="347"/>
                </a:cubicBezTo>
                <a:cubicBezTo>
                  <a:pt x="301" y="361"/>
                  <a:pt x="301" y="361"/>
                  <a:pt x="301" y="361"/>
                </a:cubicBezTo>
                <a:cubicBezTo>
                  <a:pt x="321" y="381"/>
                  <a:pt x="321" y="381"/>
                  <a:pt x="321" y="381"/>
                </a:cubicBezTo>
                <a:lnTo>
                  <a:pt x="315" y="387"/>
                </a:lnTo>
                <a:close/>
                <a:moveTo>
                  <a:pt x="295" y="375"/>
                </a:moveTo>
                <a:cubicBezTo>
                  <a:pt x="312" y="380"/>
                  <a:pt x="312" y="380"/>
                  <a:pt x="312" y="380"/>
                </a:cubicBezTo>
                <a:cubicBezTo>
                  <a:pt x="297" y="365"/>
                  <a:pt x="297" y="365"/>
                  <a:pt x="297" y="365"/>
                </a:cubicBezTo>
                <a:cubicBezTo>
                  <a:pt x="296" y="364"/>
                  <a:pt x="295" y="363"/>
                  <a:pt x="295" y="361"/>
                </a:cubicBezTo>
                <a:cubicBezTo>
                  <a:pt x="295" y="360"/>
                  <a:pt x="296" y="358"/>
                  <a:pt x="297" y="357"/>
                </a:cubicBezTo>
                <a:cubicBezTo>
                  <a:pt x="311" y="343"/>
                  <a:pt x="311" y="343"/>
                  <a:pt x="311" y="343"/>
                </a:cubicBezTo>
                <a:cubicBezTo>
                  <a:pt x="313" y="341"/>
                  <a:pt x="316" y="341"/>
                  <a:pt x="319" y="343"/>
                </a:cubicBezTo>
                <a:cubicBezTo>
                  <a:pt x="333" y="358"/>
                  <a:pt x="333" y="358"/>
                  <a:pt x="333" y="358"/>
                </a:cubicBezTo>
                <a:cubicBezTo>
                  <a:pt x="329" y="341"/>
                  <a:pt x="329" y="341"/>
                  <a:pt x="329" y="341"/>
                </a:cubicBezTo>
                <a:cubicBezTo>
                  <a:pt x="319" y="331"/>
                  <a:pt x="319" y="331"/>
                  <a:pt x="319" y="331"/>
                </a:cubicBezTo>
                <a:cubicBezTo>
                  <a:pt x="300" y="327"/>
                  <a:pt x="300" y="327"/>
                  <a:pt x="300" y="327"/>
                </a:cubicBezTo>
                <a:cubicBezTo>
                  <a:pt x="238" y="264"/>
                  <a:pt x="238" y="264"/>
                  <a:pt x="238" y="264"/>
                </a:cubicBezTo>
                <a:cubicBezTo>
                  <a:pt x="233" y="244"/>
                  <a:pt x="233" y="244"/>
                  <a:pt x="233" y="244"/>
                </a:cubicBezTo>
                <a:cubicBezTo>
                  <a:pt x="223" y="234"/>
                  <a:pt x="223" y="234"/>
                  <a:pt x="223" y="234"/>
                </a:cubicBezTo>
                <a:cubicBezTo>
                  <a:pt x="206" y="230"/>
                  <a:pt x="206" y="230"/>
                  <a:pt x="206" y="230"/>
                </a:cubicBezTo>
                <a:cubicBezTo>
                  <a:pt x="221" y="245"/>
                  <a:pt x="221" y="245"/>
                  <a:pt x="221" y="245"/>
                </a:cubicBezTo>
                <a:cubicBezTo>
                  <a:pt x="222" y="246"/>
                  <a:pt x="223" y="247"/>
                  <a:pt x="223" y="249"/>
                </a:cubicBezTo>
                <a:cubicBezTo>
                  <a:pt x="223" y="250"/>
                  <a:pt x="222" y="252"/>
                  <a:pt x="221" y="253"/>
                </a:cubicBezTo>
                <a:cubicBezTo>
                  <a:pt x="208" y="267"/>
                  <a:pt x="208" y="267"/>
                  <a:pt x="208" y="267"/>
                </a:cubicBezTo>
                <a:cubicBezTo>
                  <a:pt x="207" y="268"/>
                  <a:pt x="205" y="268"/>
                  <a:pt x="204" y="268"/>
                </a:cubicBezTo>
                <a:cubicBezTo>
                  <a:pt x="202" y="268"/>
                  <a:pt x="201" y="268"/>
                  <a:pt x="200" y="267"/>
                </a:cubicBezTo>
                <a:cubicBezTo>
                  <a:pt x="185" y="252"/>
                  <a:pt x="185" y="252"/>
                  <a:pt x="185" y="252"/>
                </a:cubicBezTo>
                <a:cubicBezTo>
                  <a:pt x="189" y="269"/>
                  <a:pt x="189" y="269"/>
                  <a:pt x="189" y="269"/>
                </a:cubicBezTo>
                <a:cubicBezTo>
                  <a:pt x="199" y="278"/>
                  <a:pt x="199" y="278"/>
                  <a:pt x="199" y="278"/>
                </a:cubicBezTo>
                <a:cubicBezTo>
                  <a:pt x="219" y="283"/>
                  <a:pt x="219" y="283"/>
                  <a:pt x="219" y="283"/>
                </a:cubicBezTo>
                <a:cubicBezTo>
                  <a:pt x="219" y="284"/>
                  <a:pt x="219" y="284"/>
                  <a:pt x="219" y="284"/>
                </a:cubicBezTo>
                <a:cubicBezTo>
                  <a:pt x="230" y="295"/>
                  <a:pt x="240" y="305"/>
                  <a:pt x="249" y="314"/>
                </a:cubicBezTo>
                <a:cubicBezTo>
                  <a:pt x="259" y="324"/>
                  <a:pt x="269" y="334"/>
                  <a:pt x="280" y="345"/>
                </a:cubicBezTo>
                <a:cubicBezTo>
                  <a:pt x="280" y="346"/>
                  <a:pt x="280" y="346"/>
                  <a:pt x="280" y="346"/>
                </a:cubicBezTo>
                <a:cubicBezTo>
                  <a:pt x="285" y="366"/>
                  <a:pt x="285" y="366"/>
                  <a:pt x="285" y="366"/>
                </a:cubicBezTo>
                <a:lnTo>
                  <a:pt x="295" y="375"/>
                </a:lnTo>
                <a:close/>
                <a:moveTo>
                  <a:pt x="206" y="385"/>
                </a:moveTo>
                <a:cubicBezTo>
                  <a:pt x="178" y="357"/>
                  <a:pt x="178" y="357"/>
                  <a:pt x="178" y="357"/>
                </a:cubicBezTo>
                <a:cubicBezTo>
                  <a:pt x="229" y="305"/>
                  <a:pt x="229" y="305"/>
                  <a:pt x="229" y="305"/>
                </a:cubicBezTo>
                <a:cubicBezTo>
                  <a:pt x="257" y="333"/>
                  <a:pt x="257" y="333"/>
                  <a:pt x="257" y="333"/>
                </a:cubicBezTo>
                <a:lnTo>
                  <a:pt x="206" y="385"/>
                </a:lnTo>
                <a:close/>
                <a:moveTo>
                  <a:pt x="187" y="357"/>
                </a:moveTo>
                <a:cubicBezTo>
                  <a:pt x="206" y="376"/>
                  <a:pt x="206" y="376"/>
                  <a:pt x="206" y="376"/>
                </a:cubicBezTo>
                <a:cubicBezTo>
                  <a:pt x="248" y="333"/>
                  <a:pt x="248" y="333"/>
                  <a:pt x="248" y="333"/>
                </a:cubicBezTo>
                <a:cubicBezTo>
                  <a:pt x="229" y="314"/>
                  <a:pt x="229" y="314"/>
                  <a:pt x="229" y="314"/>
                </a:cubicBezTo>
                <a:lnTo>
                  <a:pt x="187" y="357"/>
                </a:lnTo>
                <a:close/>
                <a:moveTo>
                  <a:pt x="186" y="339"/>
                </a:moveTo>
                <a:cubicBezTo>
                  <a:pt x="0" y="339"/>
                  <a:pt x="0" y="339"/>
                  <a:pt x="0" y="339"/>
                </a:cubicBezTo>
                <a:cubicBezTo>
                  <a:pt x="0" y="336"/>
                  <a:pt x="0" y="336"/>
                  <a:pt x="0" y="336"/>
                </a:cubicBezTo>
                <a:cubicBezTo>
                  <a:pt x="1" y="307"/>
                  <a:pt x="22" y="222"/>
                  <a:pt x="31" y="220"/>
                </a:cubicBezTo>
                <a:cubicBezTo>
                  <a:pt x="99" y="198"/>
                  <a:pt x="99" y="198"/>
                  <a:pt x="99" y="198"/>
                </a:cubicBezTo>
                <a:cubicBezTo>
                  <a:pt x="100" y="199"/>
                  <a:pt x="100" y="199"/>
                  <a:pt x="100" y="199"/>
                </a:cubicBezTo>
                <a:cubicBezTo>
                  <a:pt x="110" y="212"/>
                  <a:pt x="119" y="220"/>
                  <a:pt x="130" y="224"/>
                </a:cubicBezTo>
                <a:cubicBezTo>
                  <a:pt x="140" y="228"/>
                  <a:pt x="159" y="228"/>
                  <a:pt x="169" y="224"/>
                </a:cubicBezTo>
                <a:cubicBezTo>
                  <a:pt x="180" y="220"/>
                  <a:pt x="189" y="212"/>
                  <a:pt x="199" y="199"/>
                </a:cubicBezTo>
                <a:cubicBezTo>
                  <a:pt x="200" y="198"/>
                  <a:pt x="200" y="198"/>
                  <a:pt x="200" y="198"/>
                </a:cubicBezTo>
                <a:cubicBezTo>
                  <a:pt x="266" y="219"/>
                  <a:pt x="266" y="219"/>
                  <a:pt x="266" y="219"/>
                </a:cubicBezTo>
                <a:cubicBezTo>
                  <a:pt x="264" y="225"/>
                  <a:pt x="264" y="225"/>
                  <a:pt x="264" y="225"/>
                </a:cubicBezTo>
                <a:cubicBezTo>
                  <a:pt x="202" y="205"/>
                  <a:pt x="202" y="205"/>
                  <a:pt x="202" y="205"/>
                </a:cubicBezTo>
                <a:cubicBezTo>
                  <a:pt x="192" y="218"/>
                  <a:pt x="182" y="226"/>
                  <a:pt x="171" y="230"/>
                </a:cubicBezTo>
                <a:cubicBezTo>
                  <a:pt x="160" y="234"/>
                  <a:pt x="139" y="234"/>
                  <a:pt x="128" y="230"/>
                </a:cubicBezTo>
                <a:cubicBezTo>
                  <a:pt x="117" y="226"/>
                  <a:pt x="107" y="218"/>
                  <a:pt x="97" y="205"/>
                </a:cubicBezTo>
                <a:cubicBezTo>
                  <a:pt x="33" y="225"/>
                  <a:pt x="33" y="225"/>
                  <a:pt x="33" y="225"/>
                </a:cubicBezTo>
                <a:cubicBezTo>
                  <a:pt x="28" y="232"/>
                  <a:pt x="8" y="300"/>
                  <a:pt x="7" y="333"/>
                </a:cubicBezTo>
                <a:cubicBezTo>
                  <a:pt x="186" y="333"/>
                  <a:pt x="186" y="333"/>
                  <a:pt x="186" y="333"/>
                </a:cubicBezTo>
                <a:lnTo>
                  <a:pt x="186" y="339"/>
                </a:lnTo>
                <a:close/>
                <a:moveTo>
                  <a:pt x="287" y="302"/>
                </a:moveTo>
                <a:cubicBezTo>
                  <a:pt x="260" y="275"/>
                  <a:pt x="260" y="275"/>
                  <a:pt x="260" y="275"/>
                </a:cubicBezTo>
                <a:cubicBezTo>
                  <a:pt x="278" y="256"/>
                  <a:pt x="278" y="256"/>
                  <a:pt x="278" y="256"/>
                </a:cubicBezTo>
                <a:cubicBezTo>
                  <a:pt x="260" y="239"/>
                  <a:pt x="260" y="239"/>
                  <a:pt x="260" y="239"/>
                </a:cubicBezTo>
                <a:cubicBezTo>
                  <a:pt x="277" y="222"/>
                  <a:pt x="277" y="222"/>
                  <a:pt x="277" y="222"/>
                </a:cubicBezTo>
                <a:cubicBezTo>
                  <a:pt x="306" y="226"/>
                  <a:pt x="306" y="226"/>
                  <a:pt x="306" y="226"/>
                </a:cubicBezTo>
                <a:cubicBezTo>
                  <a:pt x="351" y="272"/>
                  <a:pt x="351" y="272"/>
                  <a:pt x="351" y="272"/>
                </a:cubicBezTo>
                <a:cubicBezTo>
                  <a:pt x="322" y="301"/>
                  <a:pt x="322" y="301"/>
                  <a:pt x="322" y="301"/>
                </a:cubicBezTo>
                <a:cubicBezTo>
                  <a:pt x="305" y="284"/>
                  <a:pt x="305" y="284"/>
                  <a:pt x="305" y="284"/>
                </a:cubicBezTo>
                <a:lnTo>
                  <a:pt x="287" y="302"/>
                </a:lnTo>
                <a:close/>
                <a:moveTo>
                  <a:pt x="268" y="275"/>
                </a:moveTo>
                <a:cubicBezTo>
                  <a:pt x="287" y="294"/>
                  <a:pt x="287" y="294"/>
                  <a:pt x="287" y="294"/>
                </a:cubicBezTo>
                <a:cubicBezTo>
                  <a:pt x="305" y="276"/>
                  <a:pt x="305" y="276"/>
                  <a:pt x="305" y="276"/>
                </a:cubicBezTo>
                <a:cubicBezTo>
                  <a:pt x="322" y="293"/>
                  <a:pt x="322" y="293"/>
                  <a:pt x="322" y="293"/>
                </a:cubicBezTo>
                <a:cubicBezTo>
                  <a:pt x="343" y="272"/>
                  <a:pt x="343" y="272"/>
                  <a:pt x="343" y="272"/>
                </a:cubicBezTo>
                <a:cubicBezTo>
                  <a:pt x="303" y="232"/>
                  <a:pt x="303" y="232"/>
                  <a:pt x="303" y="232"/>
                </a:cubicBezTo>
                <a:cubicBezTo>
                  <a:pt x="279" y="229"/>
                  <a:pt x="279" y="229"/>
                  <a:pt x="279" y="229"/>
                </a:cubicBezTo>
                <a:cubicBezTo>
                  <a:pt x="269" y="239"/>
                  <a:pt x="269" y="239"/>
                  <a:pt x="269" y="239"/>
                </a:cubicBezTo>
                <a:cubicBezTo>
                  <a:pt x="286" y="257"/>
                  <a:pt x="286" y="257"/>
                  <a:pt x="286" y="257"/>
                </a:cubicBezTo>
                <a:lnTo>
                  <a:pt x="268" y="275"/>
                </a:lnTo>
                <a:close/>
                <a:moveTo>
                  <a:pt x="149" y="220"/>
                </a:moveTo>
                <a:cubicBezTo>
                  <a:pt x="142" y="220"/>
                  <a:pt x="135" y="219"/>
                  <a:pt x="129" y="216"/>
                </a:cubicBezTo>
                <a:cubicBezTo>
                  <a:pt x="108" y="207"/>
                  <a:pt x="94" y="188"/>
                  <a:pt x="87" y="162"/>
                </a:cubicBezTo>
                <a:cubicBezTo>
                  <a:pt x="76" y="155"/>
                  <a:pt x="73" y="136"/>
                  <a:pt x="72" y="12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72" y="126"/>
                  <a:pt x="72" y="123"/>
                  <a:pt x="72" y="119"/>
                </a:cubicBezTo>
                <a:cubicBezTo>
                  <a:pt x="72" y="116"/>
                  <a:pt x="72" y="116"/>
                  <a:pt x="72" y="116"/>
                </a:cubicBezTo>
                <a:cubicBezTo>
                  <a:pt x="226" y="116"/>
                  <a:pt x="226" y="116"/>
                  <a:pt x="226" y="116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6" y="123"/>
                  <a:pt x="226" y="126"/>
                  <a:pt x="225" y="129"/>
                </a:cubicBezTo>
                <a:cubicBezTo>
                  <a:pt x="225" y="135"/>
                  <a:pt x="222" y="155"/>
                  <a:pt x="211" y="162"/>
                </a:cubicBezTo>
                <a:cubicBezTo>
                  <a:pt x="204" y="188"/>
                  <a:pt x="189" y="207"/>
                  <a:pt x="169" y="216"/>
                </a:cubicBezTo>
                <a:cubicBezTo>
                  <a:pt x="162" y="219"/>
                  <a:pt x="156" y="220"/>
                  <a:pt x="149" y="220"/>
                </a:cubicBezTo>
                <a:close/>
                <a:moveTo>
                  <a:pt x="78" y="128"/>
                </a:moveTo>
                <a:cubicBezTo>
                  <a:pt x="79" y="140"/>
                  <a:pt x="83" y="153"/>
                  <a:pt x="91" y="158"/>
                </a:cubicBezTo>
                <a:cubicBezTo>
                  <a:pt x="92" y="158"/>
                  <a:pt x="92" y="158"/>
                  <a:pt x="92" y="158"/>
                </a:cubicBezTo>
                <a:cubicBezTo>
                  <a:pt x="92" y="159"/>
                  <a:pt x="92" y="159"/>
                  <a:pt x="92" y="159"/>
                </a:cubicBezTo>
                <a:cubicBezTo>
                  <a:pt x="97" y="177"/>
                  <a:pt x="107" y="200"/>
                  <a:pt x="131" y="210"/>
                </a:cubicBezTo>
                <a:cubicBezTo>
                  <a:pt x="142" y="215"/>
                  <a:pt x="155" y="215"/>
                  <a:pt x="166" y="210"/>
                </a:cubicBezTo>
                <a:cubicBezTo>
                  <a:pt x="191" y="200"/>
                  <a:pt x="201" y="177"/>
                  <a:pt x="206" y="159"/>
                </a:cubicBezTo>
                <a:cubicBezTo>
                  <a:pt x="206" y="158"/>
                  <a:pt x="206" y="158"/>
                  <a:pt x="206" y="158"/>
                </a:cubicBezTo>
                <a:cubicBezTo>
                  <a:pt x="207" y="158"/>
                  <a:pt x="207" y="158"/>
                  <a:pt x="207" y="158"/>
                </a:cubicBezTo>
                <a:cubicBezTo>
                  <a:pt x="214" y="153"/>
                  <a:pt x="218" y="139"/>
                  <a:pt x="219" y="128"/>
                </a:cubicBezTo>
                <a:cubicBezTo>
                  <a:pt x="220" y="127"/>
                  <a:pt x="220" y="125"/>
                  <a:pt x="220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8" y="125"/>
                  <a:pt x="78" y="127"/>
                  <a:pt x="78" y="128"/>
                </a:cubicBezTo>
                <a:close/>
                <a:moveTo>
                  <a:pt x="231" y="109"/>
                </a:moveTo>
                <a:cubicBezTo>
                  <a:pt x="68" y="109"/>
                  <a:pt x="68" y="109"/>
                  <a:pt x="68" y="109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68" y="102"/>
                  <a:pt x="68" y="98"/>
                  <a:pt x="68" y="93"/>
                </a:cubicBezTo>
                <a:cubicBezTo>
                  <a:pt x="69" y="86"/>
                  <a:pt x="71" y="84"/>
                  <a:pt x="73" y="82"/>
                </a:cubicBezTo>
                <a:cubicBezTo>
                  <a:pt x="74" y="81"/>
                  <a:pt x="74" y="81"/>
                  <a:pt x="74" y="80"/>
                </a:cubicBezTo>
                <a:cubicBezTo>
                  <a:pt x="76" y="57"/>
                  <a:pt x="89" y="35"/>
                  <a:pt x="109" y="21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4" y="30"/>
                  <a:pt x="116" y="36"/>
                  <a:pt x="117" y="42"/>
                </a:cubicBezTo>
                <a:cubicBezTo>
                  <a:pt x="116" y="34"/>
                  <a:pt x="115" y="27"/>
                  <a:pt x="115" y="20"/>
                </a:cubicBezTo>
                <a:cubicBezTo>
                  <a:pt x="115" y="17"/>
                  <a:pt x="115" y="11"/>
                  <a:pt x="120" y="9"/>
                </a:cubicBezTo>
                <a:cubicBezTo>
                  <a:pt x="139" y="0"/>
                  <a:pt x="160" y="0"/>
                  <a:pt x="179" y="9"/>
                </a:cubicBezTo>
                <a:cubicBezTo>
                  <a:pt x="183" y="11"/>
                  <a:pt x="184" y="17"/>
                  <a:pt x="184" y="20"/>
                </a:cubicBezTo>
                <a:cubicBezTo>
                  <a:pt x="184" y="27"/>
                  <a:pt x="183" y="33"/>
                  <a:pt x="182" y="41"/>
                </a:cubicBezTo>
                <a:cubicBezTo>
                  <a:pt x="183" y="35"/>
                  <a:pt x="185" y="29"/>
                  <a:pt x="186" y="23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0" y="21"/>
                  <a:pt x="190" y="21"/>
                  <a:pt x="190" y="21"/>
                </a:cubicBezTo>
                <a:cubicBezTo>
                  <a:pt x="210" y="35"/>
                  <a:pt x="223" y="57"/>
                  <a:pt x="225" y="80"/>
                </a:cubicBezTo>
                <a:cubicBezTo>
                  <a:pt x="225" y="81"/>
                  <a:pt x="225" y="81"/>
                  <a:pt x="226" y="82"/>
                </a:cubicBezTo>
                <a:cubicBezTo>
                  <a:pt x="228" y="84"/>
                  <a:pt x="230" y="86"/>
                  <a:pt x="231" y="93"/>
                </a:cubicBezTo>
                <a:cubicBezTo>
                  <a:pt x="231" y="98"/>
                  <a:pt x="232" y="102"/>
                  <a:pt x="231" y="106"/>
                </a:cubicBezTo>
                <a:lnTo>
                  <a:pt x="231" y="109"/>
                </a:lnTo>
                <a:close/>
                <a:moveTo>
                  <a:pt x="168" y="103"/>
                </a:moveTo>
                <a:cubicBezTo>
                  <a:pt x="225" y="103"/>
                  <a:pt x="225" y="103"/>
                  <a:pt x="225" y="103"/>
                </a:cubicBezTo>
                <a:cubicBezTo>
                  <a:pt x="225" y="100"/>
                  <a:pt x="225" y="97"/>
                  <a:pt x="225" y="94"/>
                </a:cubicBezTo>
                <a:cubicBezTo>
                  <a:pt x="225" y="94"/>
                  <a:pt x="225" y="94"/>
                  <a:pt x="225" y="94"/>
                </a:cubicBezTo>
                <a:cubicBezTo>
                  <a:pt x="224" y="88"/>
                  <a:pt x="223" y="87"/>
                  <a:pt x="222" y="86"/>
                </a:cubicBezTo>
                <a:cubicBezTo>
                  <a:pt x="221" y="85"/>
                  <a:pt x="219" y="84"/>
                  <a:pt x="219" y="80"/>
                </a:cubicBezTo>
                <a:cubicBezTo>
                  <a:pt x="217" y="61"/>
                  <a:pt x="207" y="42"/>
                  <a:pt x="191" y="29"/>
                </a:cubicBezTo>
                <a:cubicBezTo>
                  <a:pt x="185" y="60"/>
                  <a:pt x="176" y="84"/>
                  <a:pt x="176" y="84"/>
                </a:cubicBezTo>
                <a:lnTo>
                  <a:pt x="168" y="103"/>
                </a:lnTo>
                <a:close/>
                <a:moveTo>
                  <a:pt x="132" y="103"/>
                </a:moveTo>
                <a:cubicBezTo>
                  <a:pt x="167" y="103"/>
                  <a:pt x="167" y="103"/>
                  <a:pt x="167" y="103"/>
                </a:cubicBezTo>
                <a:cubicBezTo>
                  <a:pt x="170" y="83"/>
                  <a:pt x="170" y="83"/>
                  <a:pt x="170" y="83"/>
                </a:cubicBezTo>
                <a:cubicBezTo>
                  <a:pt x="171" y="74"/>
                  <a:pt x="172" y="66"/>
                  <a:pt x="174" y="57"/>
                </a:cubicBezTo>
                <a:cubicBezTo>
                  <a:pt x="176" y="43"/>
                  <a:pt x="178" y="30"/>
                  <a:pt x="178" y="20"/>
                </a:cubicBezTo>
                <a:cubicBezTo>
                  <a:pt x="178" y="17"/>
                  <a:pt x="177" y="14"/>
                  <a:pt x="176" y="14"/>
                </a:cubicBezTo>
                <a:cubicBezTo>
                  <a:pt x="159" y="6"/>
                  <a:pt x="140" y="6"/>
                  <a:pt x="122" y="14"/>
                </a:cubicBezTo>
                <a:cubicBezTo>
                  <a:pt x="122" y="14"/>
                  <a:pt x="121" y="17"/>
                  <a:pt x="121" y="20"/>
                </a:cubicBezTo>
                <a:cubicBezTo>
                  <a:pt x="121" y="30"/>
                  <a:pt x="123" y="43"/>
                  <a:pt x="125" y="57"/>
                </a:cubicBezTo>
                <a:cubicBezTo>
                  <a:pt x="127" y="66"/>
                  <a:pt x="128" y="74"/>
                  <a:pt x="129" y="83"/>
                </a:cubicBezTo>
                <a:lnTo>
                  <a:pt x="132" y="103"/>
                </a:lnTo>
                <a:close/>
                <a:moveTo>
                  <a:pt x="74" y="103"/>
                </a:moveTo>
                <a:cubicBezTo>
                  <a:pt x="131" y="103"/>
                  <a:pt x="131" y="103"/>
                  <a:pt x="131" y="103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3" y="84"/>
                  <a:pt x="114" y="60"/>
                  <a:pt x="108" y="29"/>
                </a:cubicBezTo>
                <a:cubicBezTo>
                  <a:pt x="92" y="41"/>
                  <a:pt x="82" y="60"/>
                  <a:pt x="80" y="80"/>
                </a:cubicBezTo>
                <a:cubicBezTo>
                  <a:pt x="80" y="84"/>
                  <a:pt x="78" y="85"/>
                  <a:pt x="77" y="86"/>
                </a:cubicBezTo>
                <a:cubicBezTo>
                  <a:pt x="76" y="87"/>
                  <a:pt x="75" y="88"/>
                  <a:pt x="74" y="94"/>
                </a:cubicBezTo>
                <a:cubicBezTo>
                  <a:pt x="74" y="97"/>
                  <a:pt x="74" y="100"/>
                  <a:pt x="74" y="103"/>
                </a:cubicBezTo>
                <a:close/>
              </a:path>
            </a:pathLst>
          </a:custGeom>
          <a:solidFill>
            <a:srgbClr val="231815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pPr defTabSz="685617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350" b="1">
              <a:solidFill>
                <a:srgbClr val="CC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2" name="Freeform 47"/>
          <p:cNvSpPr>
            <a:spLocks noEditPoints="1"/>
          </p:cNvSpPr>
          <p:nvPr/>
        </p:nvSpPr>
        <p:spPr bwMode="auto">
          <a:xfrm>
            <a:off x="4999242" y="2190750"/>
            <a:ext cx="323916" cy="269930"/>
          </a:xfrm>
          <a:custGeom>
            <a:avLst/>
            <a:gdLst>
              <a:gd name="T0" fmla="*/ 52 w 102"/>
              <a:gd name="T1" fmla="*/ 0 h 111"/>
              <a:gd name="T2" fmla="*/ 41 w 102"/>
              <a:gd name="T3" fmla="*/ 11 h 111"/>
              <a:gd name="T4" fmla="*/ 52 w 102"/>
              <a:gd name="T5" fmla="*/ 22 h 111"/>
              <a:gd name="T6" fmla="*/ 63 w 102"/>
              <a:gd name="T7" fmla="*/ 11 h 111"/>
              <a:gd name="T8" fmla="*/ 52 w 102"/>
              <a:gd name="T9" fmla="*/ 0 h 111"/>
              <a:gd name="T10" fmla="*/ 6 w 102"/>
              <a:gd name="T11" fmla="*/ 81 h 111"/>
              <a:gd name="T12" fmla="*/ 14 w 102"/>
              <a:gd name="T13" fmla="*/ 77 h 111"/>
              <a:gd name="T14" fmla="*/ 36 w 102"/>
              <a:gd name="T15" fmla="*/ 88 h 111"/>
              <a:gd name="T16" fmla="*/ 31 w 102"/>
              <a:gd name="T17" fmla="*/ 92 h 111"/>
              <a:gd name="T18" fmla="*/ 31 w 102"/>
              <a:gd name="T19" fmla="*/ 93 h 111"/>
              <a:gd name="T20" fmla="*/ 13 w 102"/>
              <a:gd name="T21" fmla="*/ 101 h 111"/>
              <a:gd name="T22" fmla="*/ 6 w 102"/>
              <a:gd name="T23" fmla="*/ 98 h 111"/>
              <a:gd name="T24" fmla="*/ 0 w 102"/>
              <a:gd name="T25" fmla="*/ 111 h 111"/>
              <a:gd name="T26" fmla="*/ 33 w 102"/>
              <a:gd name="T27" fmla="*/ 111 h 111"/>
              <a:gd name="T28" fmla="*/ 24 w 102"/>
              <a:gd name="T29" fmla="*/ 106 h 111"/>
              <a:gd name="T30" fmla="*/ 41 w 102"/>
              <a:gd name="T31" fmla="*/ 98 h 111"/>
              <a:gd name="T32" fmla="*/ 52 w 102"/>
              <a:gd name="T33" fmla="*/ 99 h 111"/>
              <a:gd name="T34" fmla="*/ 60 w 102"/>
              <a:gd name="T35" fmla="*/ 98 h 111"/>
              <a:gd name="T36" fmla="*/ 77 w 102"/>
              <a:gd name="T37" fmla="*/ 106 h 111"/>
              <a:gd name="T38" fmla="*/ 67 w 102"/>
              <a:gd name="T39" fmla="*/ 111 h 111"/>
              <a:gd name="T40" fmla="*/ 101 w 102"/>
              <a:gd name="T41" fmla="*/ 111 h 111"/>
              <a:gd name="T42" fmla="*/ 94 w 102"/>
              <a:gd name="T43" fmla="*/ 98 h 111"/>
              <a:gd name="T44" fmla="*/ 87 w 102"/>
              <a:gd name="T45" fmla="*/ 101 h 111"/>
              <a:gd name="T46" fmla="*/ 71 w 102"/>
              <a:gd name="T47" fmla="*/ 94 h 111"/>
              <a:gd name="T48" fmla="*/ 72 w 102"/>
              <a:gd name="T49" fmla="*/ 92 h 111"/>
              <a:gd name="T50" fmla="*/ 66 w 102"/>
              <a:gd name="T51" fmla="*/ 87 h 111"/>
              <a:gd name="T52" fmla="*/ 88 w 102"/>
              <a:gd name="T53" fmla="*/ 77 h 111"/>
              <a:gd name="T54" fmla="*/ 96 w 102"/>
              <a:gd name="T55" fmla="*/ 81 h 111"/>
              <a:gd name="T56" fmla="*/ 102 w 102"/>
              <a:gd name="T57" fmla="*/ 67 h 111"/>
              <a:gd name="T58" fmla="*/ 68 w 102"/>
              <a:gd name="T59" fmla="*/ 67 h 111"/>
              <a:gd name="T60" fmla="*/ 78 w 102"/>
              <a:gd name="T61" fmla="*/ 72 h 111"/>
              <a:gd name="T62" fmla="*/ 65 w 102"/>
              <a:gd name="T63" fmla="*/ 79 h 111"/>
              <a:gd name="T64" fmla="*/ 64 w 102"/>
              <a:gd name="T65" fmla="*/ 58 h 111"/>
              <a:gd name="T66" fmla="*/ 71 w 102"/>
              <a:gd name="T67" fmla="*/ 53 h 111"/>
              <a:gd name="T68" fmla="*/ 65 w 102"/>
              <a:gd name="T69" fmla="*/ 24 h 111"/>
              <a:gd name="T70" fmla="*/ 53 w 102"/>
              <a:gd name="T71" fmla="*/ 24 h 111"/>
              <a:gd name="T72" fmla="*/ 54 w 102"/>
              <a:gd name="T73" fmla="*/ 26 h 111"/>
              <a:gd name="T74" fmla="*/ 53 w 102"/>
              <a:gd name="T75" fmla="*/ 28 h 111"/>
              <a:gd name="T76" fmla="*/ 56 w 102"/>
              <a:gd name="T77" fmla="*/ 46 h 111"/>
              <a:gd name="T78" fmla="*/ 52 w 102"/>
              <a:gd name="T79" fmla="*/ 50 h 111"/>
              <a:gd name="T80" fmla="*/ 52 w 102"/>
              <a:gd name="T81" fmla="*/ 50 h 111"/>
              <a:gd name="T82" fmla="*/ 52 w 102"/>
              <a:gd name="T83" fmla="*/ 50 h 111"/>
              <a:gd name="T84" fmla="*/ 52 w 102"/>
              <a:gd name="T85" fmla="*/ 50 h 111"/>
              <a:gd name="T86" fmla="*/ 52 w 102"/>
              <a:gd name="T87" fmla="*/ 50 h 111"/>
              <a:gd name="T88" fmla="*/ 48 w 102"/>
              <a:gd name="T89" fmla="*/ 46 h 111"/>
              <a:gd name="T90" fmla="*/ 50 w 102"/>
              <a:gd name="T91" fmla="*/ 28 h 111"/>
              <a:gd name="T92" fmla="*/ 49 w 102"/>
              <a:gd name="T93" fmla="*/ 26 h 111"/>
              <a:gd name="T94" fmla="*/ 50 w 102"/>
              <a:gd name="T95" fmla="*/ 24 h 111"/>
              <a:gd name="T96" fmla="*/ 38 w 102"/>
              <a:gd name="T97" fmla="*/ 24 h 111"/>
              <a:gd name="T98" fmla="*/ 33 w 102"/>
              <a:gd name="T99" fmla="*/ 53 h 111"/>
              <a:gd name="T100" fmla="*/ 40 w 102"/>
              <a:gd name="T101" fmla="*/ 58 h 111"/>
              <a:gd name="T102" fmla="*/ 39 w 102"/>
              <a:gd name="T103" fmla="*/ 79 h 111"/>
              <a:gd name="T104" fmla="*/ 24 w 102"/>
              <a:gd name="T105" fmla="*/ 72 h 111"/>
              <a:gd name="T106" fmla="*/ 34 w 102"/>
              <a:gd name="T107" fmla="*/ 67 h 111"/>
              <a:gd name="T108" fmla="*/ 0 w 102"/>
              <a:gd name="T109" fmla="*/ 67 h 111"/>
              <a:gd name="T110" fmla="*/ 6 w 102"/>
              <a:gd name="T111" fmla="*/ 81 h 111"/>
              <a:gd name="T112" fmla="*/ 52 w 102"/>
              <a:gd name="T113" fmla="*/ 85 h 111"/>
              <a:gd name="T114" fmla="*/ 48 w 102"/>
              <a:gd name="T115" fmla="*/ 85 h 111"/>
              <a:gd name="T116" fmla="*/ 50 w 102"/>
              <a:gd name="T117" fmla="*/ 64 h 111"/>
              <a:gd name="T118" fmla="*/ 54 w 102"/>
              <a:gd name="T119" fmla="*/ 64 h 111"/>
              <a:gd name="T120" fmla="*/ 55 w 102"/>
              <a:gd name="T121" fmla="*/ 85 h 111"/>
              <a:gd name="T122" fmla="*/ 52 w 102"/>
              <a:gd name="T123" fmla="*/ 85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2" h="111">
                <a:moveTo>
                  <a:pt x="52" y="0"/>
                </a:moveTo>
                <a:cubicBezTo>
                  <a:pt x="46" y="0"/>
                  <a:pt x="41" y="5"/>
                  <a:pt x="41" y="11"/>
                </a:cubicBezTo>
                <a:cubicBezTo>
                  <a:pt x="41" y="17"/>
                  <a:pt x="46" y="22"/>
                  <a:pt x="52" y="22"/>
                </a:cubicBezTo>
                <a:cubicBezTo>
                  <a:pt x="58" y="22"/>
                  <a:pt x="63" y="17"/>
                  <a:pt x="63" y="11"/>
                </a:cubicBezTo>
                <a:cubicBezTo>
                  <a:pt x="63" y="5"/>
                  <a:pt x="58" y="0"/>
                  <a:pt x="52" y="0"/>
                </a:cubicBezTo>
                <a:close/>
                <a:moveTo>
                  <a:pt x="6" y="81"/>
                </a:moveTo>
                <a:cubicBezTo>
                  <a:pt x="14" y="77"/>
                  <a:pt x="14" y="77"/>
                  <a:pt x="14" y="77"/>
                </a:cubicBezTo>
                <a:cubicBezTo>
                  <a:pt x="36" y="88"/>
                  <a:pt x="36" y="88"/>
                  <a:pt x="36" y="88"/>
                </a:cubicBezTo>
                <a:cubicBezTo>
                  <a:pt x="33" y="89"/>
                  <a:pt x="31" y="90"/>
                  <a:pt x="31" y="92"/>
                </a:cubicBezTo>
                <a:cubicBezTo>
                  <a:pt x="31" y="93"/>
                  <a:pt x="31" y="93"/>
                  <a:pt x="31" y="93"/>
                </a:cubicBezTo>
                <a:cubicBezTo>
                  <a:pt x="13" y="101"/>
                  <a:pt x="13" y="101"/>
                  <a:pt x="13" y="101"/>
                </a:cubicBezTo>
                <a:cubicBezTo>
                  <a:pt x="6" y="98"/>
                  <a:pt x="6" y="98"/>
                  <a:pt x="6" y="98"/>
                </a:cubicBezTo>
                <a:cubicBezTo>
                  <a:pt x="0" y="111"/>
                  <a:pt x="0" y="111"/>
                  <a:pt x="0" y="111"/>
                </a:cubicBezTo>
                <a:cubicBezTo>
                  <a:pt x="33" y="111"/>
                  <a:pt x="33" y="111"/>
                  <a:pt x="33" y="111"/>
                </a:cubicBezTo>
                <a:cubicBezTo>
                  <a:pt x="24" y="106"/>
                  <a:pt x="24" y="106"/>
                  <a:pt x="24" y="106"/>
                </a:cubicBezTo>
                <a:cubicBezTo>
                  <a:pt x="41" y="98"/>
                  <a:pt x="41" y="98"/>
                  <a:pt x="41" y="98"/>
                </a:cubicBezTo>
                <a:cubicBezTo>
                  <a:pt x="44" y="99"/>
                  <a:pt x="48" y="99"/>
                  <a:pt x="52" y="99"/>
                </a:cubicBezTo>
                <a:cubicBezTo>
                  <a:pt x="55" y="99"/>
                  <a:pt x="58" y="99"/>
                  <a:pt x="60" y="98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94" y="98"/>
                  <a:pt x="94" y="98"/>
                  <a:pt x="94" y="9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71" y="94"/>
                  <a:pt x="71" y="94"/>
                  <a:pt x="71" y="94"/>
                </a:cubicBezTo>
                <a:cubicBezTo>
                  <a:pt x="72" y="94"/>
                  <a:pt x="72" y="93"/>
                  <a:pt x="72" y="92"/>
                </a:cubicBezTo>
                <a:cubicBezTo>
                  <a:pt x="72" y="90"/>
                  <a:pt x="70" y="89"/>
                  <a:pt x="66" y="87"/>
                </a:cubicBezTo>
                <a:cubicBezTo>
                  <a:pt x="88" y="77"/>
                  <a:pt x="88" y="77"/>
                  <a:pt x="88" y="77"/>
                </a:cubicBezTo>
                <a:cubicBezTo>
                  <a:pt x="96" y="81"/>
                  <a:pt x="96" y="81"/>
                  <a:pt x="96" y="81"/>
                </a:cubicBezTo>
                <a:cubicBezTo>
                  <a:pt x="102" y="67"/>
                  <a:pt x="102" y="67"/>
                  <a:pt x="102" y="67"/>
                </a:cubicBezTo>
                <a:cubicBezTo>
                  <a:pt x="68" y="67"/>
                  <a:pt x="68" y="67"/>
                  <a:pt x="68" y="67"/>
                </a:cubicBezTo>
                <a:cubicBezTo>
                  <a:pt x="78" y="72"/>
                  <a:pt x="78" y="72"/>
                  <a:pt x="78" y="72"/>
                </a:cubicBezTo>
                <a:cubicBezTo>
                  <a:pt x="65" y="79"/>
                  <a:pt x="65" y="79"/>
                  <a:pt x="65" y="79"/>
                </a:cubicBezTo>
                <a:cubicBezTo>
                  <a:pt x="64" y="58"/>
                  <a:pt x="64" y="58"/>
                  <a:pt x="64" y="58"/>
                </a:cubicBezTo>
                <a:cubicBezTo>
                  <a:pt x="71" y="53"/>
                  <a:pt x="71" y="53"/>
                  <a:pt x="71" y="53"/>
                </a:cubicBezTo>
                <a:cubicBezTo>
                  <a:pt x="65" y="24"/>
                  <a:pt x="65" y="24"/>
                  <a:pt x="65" y="24"/>
                </a:cubicBezTo>
                <a:cubicBezTo>
                  <a:pt x="53" y="24"/>
                  <a:pt x="53" y="24"/>
                  <a:pt x="53" y="24"/>
                </a:cubicBezTo>
                <a:cubicBezTo>
                  <a:pt x="54" y="26"/>
                  <a:pt x="54" y="26"/>
                  <a:pt x="54" y="26"/>
                </a:cubicBezTo>
                <a:cubicBezTo>
                  <a:pt x="53" y="28"/>
                  <a:pt x="53" y="28"/>
                  <a:pt x="53" y="28"/>
                </a:cubicBezTo>
                <a:cubicBezTo>
                  <a:pt x="56" y="46"/>
                  <a:pt x="56" y="46"/>
                  <a:pt x="56" y="46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48" y="46"/>
                  <a:pt x="48" y="46"/>
                  <a:pt x="48" y="46"/>
                </a:cubicBezTo>
                <a:cubicBezTo>
                  <a:pt x="50" y="28"/>
                  <a:pt x="50" y="28"/>
                  <a:pt x="50" y="28"/>
                </a:cubicBezTo>
                <a:cubicBezTo>
                  <a:pt x="49" y="26"/>
                  <a:pt x="49" y="26"/>
                  <a:pt x="49" y="26"/>
                </a:cubicBezTo>
                <a:cubicBezTo>
                  <a:pt x="50" y="24"/>
                  <a:pt x="50" y="24"/>
                  <a:pt x="50" y="24"/>
                </a:cubicBezTo>
                <a:cubicBezTo>
                  <a:pt x="38" y="24"/>
                  <a:pt x="38" y="24"/>
                  <a:pt x="38" y="24"/>
                </a:cubicBezTo>
                <a:cubicBezTo>
                  <a:pt x="33" y="53"/>
                  <a:pt x="33" y="53"/>
                  <a:pt x="33" y="53"/>
                </a:cubicBezTo>
                <a:cubicBezTo>
                  <a:pt x="40" y="58"/>
                  <a:pt x="40" y="58"/>
                  <a:pt x="40" y="58"/>
                </a:cubicBezTo>
                <a:cubicBezTo>
                  <a:pt x="39" y="79"/>
                  <a:pt x="39" y="79"/>
                  <a:pt x="39" y="79"/>
                </a:cubicBezTo>
                <a:cubicBezTo>
                  <a:pt x="24" y="72"/>
                  <a:pt x="24" y="72"/>
                  <a:pt x="24" y="72"/>
                </a:cubicBezTo>
                <a:cubicBezTo>
                  <a:pt x="34" y="67"/>
                  <a:pt x="34" y="67"/>
                  <a:pt x="34" y="67"/>
                </a:cubicBezTo>
                <a:cubicBezTo>
                  <a:pt x="0" y="67"/>
                  <a:pt x="0" y="67"/>
                  <a:pt x="0" y="67"/>
                </a:cubicBezTo>
                <a:cubicBezTo>
                  <a:pt x="6" y="81"/>
                  <a:pt x="6" y="81"/>
                  <a:pt x="6" y="81"/>
                </a:cubicBezTo>
                <a:close/>
                <a:moveTo>
                  <a:pt x="52" y="85"/>
                </a:moveTo>
                <a:cubicBezTo>
                  <a:pt x="50" y="85"/>
                  <a:pt x="49" y="85"/>
                  <a:pt x="48" y="85"/>
                </a:cubicBezTo>
                <a:cubicBezTo>
                  <a:pt x="50" y="64"/>
                  <a:pt x="50" y="64"/>
                  <a:pt x="50" y="64"/>
                </a:cubicBezTo>
                <a:cubicBezTo>
                  <a:pt x="54" y="64"/>
                  <a:pt x="54" y="64"/>
                  <a:pt x="54" y="64"/>
                </a:cubicBezTo>
                <a:cubicBezTo>
                  <a:pt x="55" y="85"/>
                  <a:pt x="55" y="85"/>
                  <a:pt x="55" y="85"/>
                </a:cubicBezTo>
                <a:cubicBezTo>
                  <a:pt x="54" y="85"/>
                  <a:pt x="53" y="85"/>
                  <a:pt x="52" y="85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" name="Freeform 46"/>
          <p:cNvSpPr>
            <a:spLocks noEditPoints="1"/>
          </p:cNvSpPr>
          <p:nvPr/>
        </p:nvSpPr>
        <p:spPr bwMode="auto">
          <a:xfrm>
            <a:off x="5381509" y="2190750"/>
            <a:ext cx="323916" cy="269930"/>
          </a:xfrm>
          <a:custGeom>
            <a:avLst/>
            <a:gdLst>
              <a:gd name="T0" fmla="*/ 8 w 97"/>
              <a:gd name="T1" fmla="*/ 10 h 91"/>
              <a:gd name="T2" fmla="*/ 28 w 97"/>
              <a:gd name="T3" fmla="*/ 10 h 91"/>
              <a:gd name="T4" fmla="*/ 41 w 97"/>
              <a:gd name="T5" fmla="*/ 45 h 91"/>
              <a:gd name="T6" fmla="*/ 51 w 97"/>
              <a:gd name="T7" fmla="*/ 41 h 91"/>
              <a:gd name="T8" fmla="*/ 59 w 97"/>
              <a:gd name="T9" fmla="*/ 46 h 91"/>
              <a:gd name="T10" fmla="*/ 66 w 97"/>
              <a:gd name="T11" fmla="*/ 27 h 91"/>
              <a:gd name="T12" fmla="*/ 73 w 97"/>
              <a:gd name="T13" fmla="*/ 34 h 91"/>
              <a:gd name="T14" fmla="*/ 83 w 97"/>
              <a:gd name="T15" fmla="*/ 23 h 91"/>
              <a:gd name="T16" fmla="*/ 73 w 97"/>
              <a:gd name="T17" fmla="*/ 40 h 91"/>
              <a:gd name="T18" fmla="*/ 67 w 97"/>
              <a:gd name="T19" fmla="*/ 33 h 91"/>
              <a:gd name="T20" fmla="*/ 61 w 97"/>
              <a:gd name="T21" fmla="*/ 51 h 91"/>
              <a:gd name="T22" fmla="*/ 51 w 97"/>
              <a:gd name="T23" fmla="*/ 45 h 91"/>
              <a:gd name="T24" fmla="*/ 41 w 97"/>
              <a:gd name="T25" fmla="*/ 45 h 91"/>
              <a:gd name="T26" fmla="*/ 74 w 97"/>
              <a:gd name="T27" fmla="*/ 86 h 91"/>
              <a:gd name="T28" fmla="*/ 43 w 97"/>
              <a:gd name="T29" fmla="*/ 91 h 91"/>
              <a:gd name="T30" fmla="*/ 63 w 97"/>
              <a:gd name="T31" fmla="*/ 68 h 91"/>
              <a:gd name="T32" fmla="*/ 97 w 97"/>
              <a:gd name="T33" fmla="*/ 68 h 91"/>
              <a:gd name="T34" fmla="*/ 97 w 97"/>
              <a:gd name="T35" fmla="*/ 6 h 91"/>
              <a:gd name="T36" fmla="*/ 93 w 97"/>
              <a:gd name="T37" fmla="*/ 3 h 91"/>
              <a:gd name="T38" fmla="*/ 34 w 97"/>
              <a:gd name="T39" fmla="*/ 9 h 91"/>
              <a:gd name="T40" fmla="*/ 90 w 97"/>
              <a:gd name="T41" fmla="*/ 61 h 91"/>
              <a:gd name="T42" fmla="*/ 36 w 97"/>
              <a:gd name="T43" fmla="*/ 68 h 91"/>
              <a:gd name="T44" fmla="*/ 54 w 97"/>
              <a:gd name="T45" fmla="*/ 84 h 91"/>
              <a:gd name="T46" fmla="*/ 63 w 97"/>
              <a:gd name="T47" fmla="*/ 68 h 91"/>
              <a:gd name="T48" fmla="*/ 7 w 97"/>
              <a:gd name="T49" fmla="*/ 55 h 91"/>
              <a:gd name="T50" fmla="*/ 14 w 97"/>
              <a:gd name="T51" fmla="*/ 91 h 91"/>
              <a:gd name="T52" fmla="*/ 20 w 97"/>
              <a:gd name="T53" fmla="*/ 60 h 91"/>
              <a:gd name="T54" fmla="*/ 31 w 97"/>
              <a:gd name="T55" fmla="*/ 91 h 91"/>
              <a:gd name="T56" fmla="*/ 28 w 97"/>
              <a:gd name="T57" fmla="*/ 33 h 91"/>
              <a:gd name="T58" fmla="*/ 55 w 97"/>
              <a:gd name="T59" fmla="*/ 24 h 91"/>
              <a:gd name="T60" fmla="*/ 20 w 97"/>
              <a:gd name="T61" fmla="*/ 23 h 91"/>
              <a:gd name="T62" fmla="*/ 19 w 97"/>
              <a:gd name="T63" fmla="*/ 27 h 91"/>
              <a:gd name="T64" fmla="*/ 18 w 97"/>
              <a:gd name="T65" fmla="*/ 47 h 91"/>
              <a:gd name="T66" fmla="*/ 18 w 97"/>
              <a:gd name="T67" fmla="*/ 47 h 91"/>
              <a:gd name="T68" fmla="*/ 18 w 97"/>
              <a:gd name="T69" fmla="*/ 47 h 91"/>
              <a:gd name="T70" fmla="*/ 16 w 97"/>
              <a:gd name="T71" fmla="*/ 27 h 91"/>
              <a:gd name="T72" fmla="*/ 16 w 97"/>
              <a:gd name="T73" fmla="*/ 23 h 91"/>
              <a:gd name="T74" fmla="*/ 0 w 97"/>
              <a:gd name="T75" fmla="*/ 5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" h="91">
                <a:moveTo>
                  <a:pt x="18" y="0"/>
                </a:moveTo>
                <a:cubicBezTo>
                  <a:pt x="12" y="0"/>
                  <a:pt x="8" y="4"/>
                  <a:pt x="8" y="10"/>
                </a:cubicBezTo>
                <a:cubicBezTo>
                  <a:pt x="8" y="16"/>
                  <a:pt x="12" y="20"/>
                  <a:pt x="18" y="20"/>
                </a:cubicBezTo>
                <a:cubicBezTo>
                  <a:pt x="24" y="20"/>
                  <a:pt x="28" y="16"/>
                  <a:pt x="28" y="10"/>
                </a:cubicBezTo>
                <a:cubicBezTo>
                  <a:pt x="28" y="4"/>
                  <a:pt x="24" y="0"/>
                  <a:pt x="18" y="0"/>
                </a:cubicBezTo>
                <a:close/>
                <a:moveTo>
                  <a:pt x="41" y="45"/>
                </a:moveTo>
                <a:cubicBezTo>
                  <a:pt x="50" y="42"/>
                  <a:pt x="50" y="42"/>
                  <a:pt x="50" y="42"/>
                </a:cubicBezTo>
                <a:cubicBezTo>
                  <a:pt x="51" y="41"/>
                  <a:pt x="51" y="41"/>
                  <a:pt x="51" y="41"/>
                </a:cubicBezTo>
                <a:cubicBezTo>
                  <a:pt x="52" y="42"/>
                  <a:pt x="52" y="42"/>
                  <a:pt x="52" y="42"/>
                </a:cubicBezTo>
                <a:cubicBezTo>
                  <a:pt x="59" y="46"/>
                  <a:pt x="59" y="46"/>
                  <a:pt x="59" y="46"/>
                </a:cubicBezTo>
                <a:cubicBezTo>
                  <a:pt x="65" y="29"/>
                  <a:pt x="65" y="29"/>
                  <a:pt x="65" y="29"/>
                </a:cubicBezTo>
                <a:cubicBezTo>
                  <a:pt x="66" y="27"/>
                  <a:pt x="66" y="27"/>
                  <a:pt x="66" y="27"/>
                </a:cubicBezTo>
                <a:cubicBezTo>
                  <a:pt x="67" y="29"/>
                  <a:pt x="67" y="29"/>
                  <a:pt x="67" y="29"/>
                </a:cubicBezTo>
                <a:cubicBezTo>
                  <a:pt x="73" y="34"/>
                  <a:pt x="73" y="34"/>
                  <a:pt x="73" y="34"/>
                </a:cubicBezTo>
                <a:cubicBezTo>
                  <a:pt x="81" y="21"/>
                  <a:pt x="81" y="21"/>
                  <a:pt x="81" y="21"/>
                </a:cubicBezTo>
                <a:cubicBezTo>
                  <a:pt x="83" y="23"/>
                  <a:pt x="83" y="23"/>
                  <a:pt x="83" y="23"/>
                </a:cubicBezTo>
                <a:cubicBezTo>
                  <a:pt x="75" y="38"/>
                  <a:pt x="75" y="38"/>
                  <a:pt x="75" y="38"/>
                </a:cubicBezTo>
                <a:cubicBezTo>
                  <a:pt x="73" y="40"/>
                  <a:pt x="73" y="40"/>
                  <a:pt x="73" y="40"/>
                </a:cubicBezTo>
                <a:cubicBezTo>
                  <a:pt x="72" y="38"/>
                  <a:pt x="72" y="38"/>
                  <a:pt x="72" y="38"/>
                </a:cubicBezTo>
                <a:cubicBezTo>
                  <a:pt x="67" y="33"/>
                  <a:pt x="67" y="33"/>
                  <a:pt x="67" y="33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51"/>
                  <a:pt x="61" y="51"/>
                  <a:pt x="61" y="51"/>
                </a:cubicBezTo>
                <a:cubicBezTo>
                  <a:pt x="59" y="50"/>
                  <a:pt x="59" y="50"/>
                  <a:pt x="59" y="50"/>
                </a:cubicBezTo>
                <a:cubicBezTo>
                  <a:pt x="51" y="45"/>
                  <a:pt x="51" y="45"/>
                  <a:pt x="51" y="45"/>
                </a:cubicBezTo>
                <a:cubicBezTo>
                  <a:pt x="42" y="48"/>
                  <a:pt x="42" y="48"/>
                  <a:pt x="42" y="48"/>
                </a:cubicBezTo>
                <a:cubicBezTo>
                  <a:pt x="41" y="45"/>
                  <a:pt x="41" y="45"/>
                  <a:pt x="41" y="45"/>
                </a:cubicBezTo>
                <a:close/>
                <a:moveTo>
                  <a:pt x="43" y="86"/>
                </a:moveTo>
                <a:cubicBezTo>
                  <a:pt x="74" y="86"/>
                  <a:pt x="74" y="86"/>
                  <a:pt x="74" y="86"/>
                </a:cubicBezTo>
                <a:cubicBezTo>
                  <a:pt x="74" y="91"/>
                  <a:pt x="74" y="91"/>
                  <a:pt x="74" y="91"/>
                </a:cubicBezTo>
                <a:cubicBezTo>
                  <a:pt x="43" y="91"/>
                  <a:pt x="43" y="91"/>
                  <a:pt x="43" y="91"/>
                </a:cubicBezTo>
                <a:cubicBezTo>
                  <a:pt x="43" y="86"/>
                  <a:pt x="43" y="86"/>
                  <a:pt x="43" y="86"/>
                </a:cubicBezTo>
                <a:close/>
                <a:moveTo>
                  <a:pt x="63" y="68"/>
                </a:moveTo>
                <a:cubicBezTo>
                  <a:pt x="93" y="68"/>
                  <a:pt x="93" y="68"/>
                  <a:pt x="93" y="68"/>
                </a:cubicBezTo>
                <a:cubicBezTo>
                  <a:pt x="97" y="68"/>
                  <a:pt x="97" y="68"/>
                  <a:pt x="97" y="68"/>
                </a:cubicBezTo>
                <a:cubicBezTo>
                  <a:pt x="97" y="64"/>
                  <a:pt x="97" y="64"/>
                  <a:pt x="97" y="64"/>
                </a:cubicBezTo>
                <a:cubicBezTo>
                  <a:pt x="97" y="6"/>
                  <a:pt x="97" y="6"/>
                  <a:pt x="97" y="6"/>
                </a:cubicBezTo>
                <a:cubicBezTo>
                  <a:pt x="97" y="3"/>
                  <a:pt x="97" y="3"/>
                  <a:pt x="97" y="3"/>
                </a:cubicBezTo>
                <a:cubicBezTo>
                  <a:pt x="93" y="3"/>
                  <a:pt x="93" y="3"/>
                  <a:pt x="93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9"/>
                  <a:pt x="34" y="9"/>
                  <a:pt x="34" y="9"/>
                </a:cubicBezTo>
                <a:cubicBezTo>
                  <a:pt x="90" y="9"/>
                  <a:pt x="90" y="9"/>
                  <a:pt x="90" y="9"/>
                </a:cubicBezTo>
                <a:cubicBezTo>
                  <a:pt x="90" y="61"/>
                  <a:pt x="90" y="61"/>
                  <a:pt x="90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68"/>
                  <a:pt x="36" y="68"/>
                  <a:pt x="36" y="68"/>
                </a:cubicBezTo>
                <a:cubicBezTo>
                  <a:pt x="54" y="68"/>
                  <a:pt x="54" y="68"/>
                  <a:pt x="54" y="68"/>
                </a:cubicBezTo>
                <a:cubicBezTo>
                  <a:pt x="54" y="84"/>
                  <a:pt x="54" y="84"/>
                  <a:pt x="54" y="84"/>
                </a:cubicBezTo>
                <a:cubicBezTo>
                  <a:pt x="63" y="84"/>
                  <a:pt x="63" y="84"/>
                  <a:pt x="63" y="84"/>
                </a:cubicBezTo>
                <a:cubicBezTo>
                  <a:pt x="63" y="68"/>
                  <a:pt x="63" y="68"/>
                  <a:pt x="63" y="68"/>
                </a:cubicBezTo>
                <a:close/>
                <a:moveTo>
                  <a:pt x="0" y="50"/>
                </a:moveTo>
                <a:cubicBezTo>
                  <a:pt x="7" y="55"/>
                  <a:pt x="7" y="55"/>
                  <a:pt x="7" y="55"/>
                </a:cubicBezTo>
                <a:cubicBezTo>
                  <a:pt x="5" y="91"/>
                  <a:pt x="5" y="91"/>
                  <a:pt x="5" y="91"/>
                </a:cubicBezTo>
                <a:cubicBezTo>
                  <a:pt x="14" y="91"/>
                  <a:pt x="14" y="91"/>
                  <a:pt x="14" y="91"/>
                </a:cubicBezTo>
                <a:cubicBezTo>
                  <a:pt x="16" y="60"/>
                  <a:pt x="16" y="60"/>
                  <a:pt x="16" y="60"/>
                </a:cubicBezTo>
                <a:cubicBezTo>
                  <a:pt x="20" y="60"/>
                  <a:pt x="20" y="60"/>
                  <a:pt x="20" y="60"/>
                </a:cubicBezTo>
                <a:cubicBezTo>
                  <a:pt x="22" y="91"/>
                  <a:pt x="22" y="91"/>
                  <a:pt x="22" y="91"/>
                </a:cubicBezTo>
                <a:cubicBezTo>
                  <a:pt x="31" y="91"/>
                  <a:pt x="31" y="91"/>
                  <a:pt x="31" y="91"/>
                </a:cubicBezTo>
                <a:cubicBezTo>
                  <a:pt x="29" y="55"/>
                  <a:pt x="29" y="55"/>
                  <a:pt x="29" y="55"/>
                </a:cubicBezTo>
                <a:cubicBezTo>
                  <a:pt x="28" y="33"/>
                  <a:pt x="28" y="33"/>
                  <a:pt x="28" y="33"/>
                </a:cubicBezTo>
                <a:cubicBezTo>
                  <a:pt x="50" y="32"/>
                  <a:pt x="50" y="32"/>
                  <a:pt x="50" y="32"/>
                </a:cubicBezTo>
                <a:cubicBezTo>
                  <a:pt x="55" y="24"/>
                  <a:pt x="55" y="24"/>
                  <a:pt x="55" y="24"/>
                </a:cubicBezTo>
                <a:cubicBezTo>
                  <a:pt x="30" y="23"/>
                  <a:pt x="30" y="23"/>
                  <a:pt x="30" y="23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4"/>
                  <a:pt x="20" y="24"/>
                  <a:pt x="20" y="24"/>
                </a:cubicBezTo>
                <a:cubicBezTo>
                  <a:pt x="19" y="27"/>
                  <a:pt x="19" y="27"/>
                  <a:pt x="19" y="27"/>
                </a:cubicBezTo>
                <a:cubicBezTo>
                  <a:pt x="22" y="43"/>
                  <a:pt x="22" y="43"/>
                  <a:pt x="22" y="43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4" y="43"/>
                  <a:pt x="14" y="43"/>
                  <a:pt x="14" y="43"/>
                </a:cubicBezTo>
                <a:cubicBezTo>
                  <a:pt x="16" y="27"/>
                  <a:pt x="16" y="27"/>
                  <a:pt x="16" y="27"/>
                </a:cubicBezTo>
                <a:cubicBezTo>
                  <a:pt x="15" y="24"/>
                  <a:pt x="15" y="24"/>
                  <a:pt x="15" y="24"/>
                </a:cubicBezTo>
                <a:cubicBezTo>
                  <a:pt x="16" y="23"/>
                  <a:pt x="16" y="23"/>
                  <a:pt x="16" y="23"/>
                </a:cubicBezTo>
                <a:cubicBezTo>
                  <a:pt x="5" y="23"/>
                  <a:pt x="5" y="23"/>
                  <a:pt x="5" y="23"/>
                </a:cubicBezTo>
                <a:lnTo>
                  <a:pt x="0" y="5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4" name="Freeform 53"/>
          <p:cNvSpPr>
            <a:spLocks noEditPoints="1"/>
          </p:cNvSpPr>
          <p:nvPr/>
        </p:nvSpPr>
        <p:spPr bwMode="auto">
          <a:xfrm>
            <a:off x="5165259" y="1255486"/>
            <a:ext cx="323916" cy="269930"/>
          </a:xfrm>
          <a:custGeom>
            <a:avLst/>
            <a:gdLst>
              <a:gd name="T0" fmla="*/ 35 w 103"/>
              <a:gd name="T1" fmla="*/ 39 h 104"/>
              <a:gd name="T2" fmla="*/ 37 w 103"/>
              <a:gd name="T3" fmla="*/ 19 h 104"/>
              <a:gd name="T4" fmla="*/ 68 w 103"/>
              <a:gd name="T5" fmla="*/ 20 h 104"/>
              <a:gd name="T6" fmla="*/ 69 w 103"/>
              <a:gd name="T7" fmla="*/ 39 h 104"/>
              <a:gd name="T8" fmla="*/ 72 w 103"/>
              <a:gd name="T9" fmla="*/ 10 h 104"/>
              <a:gd name="T10" fmla="*/ 33 w 103"/>
              <a:gd name="T11" fmla="*/ 8 h 104"/>
              <a:gd name="T12" fmla="*/ 35 w 103"/>
              <a:gd name="T13" fmla="*/ 39 h 104"/>
              <a:gd name="T14" fmla="*/ 5 w 103"/>
              <a:gd name="T15" fmla="*/ 67 h 104"/>
              <a:gd name="T16" fmla="*/ 28 w 103"/>
              <a:gd name="T17" fmla="*/ 59 h 104"/>
              <a:gd name="T18" fmla="*/ 27 w 103"/>
              <a:gd name="T19" fmla="*/ 76 h 104"/>
              <a:gd name="T20" fmla="*/ 31 w 103"/>
              <a:gd name="T21" fmla="*/ 75 h 104"/>
              <a:gd name="T22" fmla="*/ 28 w 103"/>
              <a:gd name="T23" fmla="*/ 78 h 104"/>
              <a:gd name="T24" fmla="*/ 28 w 103"/>
              <a:gd name="T25" fmla="*/ 79 h 104"/>
              <a:gd name="T26" fmla="*/ 40 w 103"/>
              <a:gd name="T27" fmla="*/ 100 h 104"/>
              <a:gd name="T28" fmla="*/ 43 w 103"/>
              <a:gd name="T29" fmla="*/ 102 h 104"/>
              <a:gd name="T30" fmla="*/ 30 w 103"/>
              <a:gd name="T31" fmla="*/ 79 h 104"/>
              <a:gd name="T32" fmla="*/ 35 w 103"/>
              <a:gd name="T33" fmla="*/ 74 h 104"/>
              <a:gd name="T34" fmla="*/ 34 w 103"/>
              <a:gd name="T35" fmla="*/ 73 h 104"/>
              <a:gd name="T36" fmla="*/ 29 w 103"/>
              <a:gd name="T37" fmla="*/ 73 h 104"/>
              <a:gd name="T38" fmla="*/ 29 w 103"/>
              <a:gd name="T39" fmla="*/ 59 h 104"/>
              <a:gd name="T40" fmla="*/ 39 w 103"/>
              <a:gd name="T41" fmla="*/ 53 h 104"/>
              <a:gd name="T42" fmla="*/ 40 w 103"/>
              <a:gd name="T43" fmla="*/ 53 h 104"/>
              <a:gd name="T44" fmla="*/ 40 w 103"/>
              <a:gd name="T45" fmla="*/ 67 h 104"/>
              <a:gd name="T46" fmla="*/ 46 w 103"/>
              <a:gd name="T47" fmla="*/ 83 h 104"/>
              <a:gd name="T48" fmla="*/ 50 w 103"/>
              <a:gd name="T49" fmla="*/ 67 h 104"/>
              <a:gd name="T50" fmla="*/ 48 w 103"/>
              <a:gd name="T51" fmla="*/ 64 h 104"/>
              <a:gd name="T52" fmla="*/ 49 w 103"/>
              <a:gd name="T53" fmla="*/ 60 h 104"/>
              <a:gd name="T54" fmla="*/ 56 w 103"/>
              <a:gd name="T55" fmla="*/ 60 h 104"/>
              <a:gd name="T56" fmla="*/ 58 w 103"/>
              <a:gd name="T57" fmla="*/ 64 h 104"/>
              <a:gd name="T58" fmla="*/ 56 w 103"/>
              <a:gd name="T59" fmla="*/ 67 h 104"/>
              <a:gd name="T60" fmla="*/ 59 w 103"/>
              <a:gd name="T61" fmla="*/ 83 h 104"/>
              <a:gd name="T62" fmla="*/ 65 w 103"/>
              <a:gd name="T63" fmla="*/ 68 h 104"/>
              <a:gd name="T64" fmla="*/ 66 w 103"/>
              <a:gd name="T65" fmla="*/ 54 h 104"/>
              <a:gd name="T66" fmla="*/ 74 w 103"/>
              <a:gd name="T67" fmla="*/ 59 h 104"/>
              <a:gd name="T68" fmla="*/ 75 w 103"/>
              <a:gd name="T69" fmla="*/ 73 h 104"/>
              <a:gd name="T70" fmla="*/ 70 w 103"/>
              <a:gd name="T71" fmla="*/ 73 h 104"/>
              <a:gd name="T72" fmla="*/ 69 w 103"/>
              <a:gd name="T73" fmla="*/ 74 h 104"/>
              <a:gd name="T74" fmla="*/ 74 w 103"/>
              <a:gd name="T75" fmla="*/ 79 h 104"/>
              <a:gd name="T76" fmla="*/ 63 w 103"/>
              <a:gd name="T77" fmla="*/ 98 h 104"/>
              <a:gd name="T78" fmla="*/ 63 w 103"/>
              <a:gd name="T79" fmla="*/ 98 h 104"/>
              <a:gd name="T80" fmla="*/ 63 w 103"/>
              <a:gd name="T81" fmla="*/ 98 h 104"/>
              <a:gd name="T82" fmla="*/ 61 w 103"/>
              <a:gd name="T83" fmla="*/ 102 h 104"/>
              <a:gd name="T84" fmla="*/ 63 w 103"/>
              <a:gd name="T85" fmla="*/ 100 h 104"/>
              <a:gd name="T86" fmla="*/ 76 w 103"/>
              <a:gd name="T87" fmla="*/ 79 h 104"/>
              <a:gd name="T88" fmla="*/ 76 w 103"/>
              <a:gd name="T89" fmla="*/ 78 h 104"/>
              <a:gd name="T90" fmla="*/ 72 w 103"/>
              <a:gd name="T91" fmla="*/ 75 h 104"/>
              <a:gd name="T92" fmla="*/ 77 w 103"/>
              <a:gd name="T93" fmla="*/ 76 h 104"/>
              <a:gd name="T94" fmla="*/ 75 w 103"/>
              <a:gd name="T95" fmla="*/ 59 h 104"/>
              <a:gd name="T96" fmla="*/ 98 w 103"/>
              <a:gd name="T97" fmla="*/ 67 h 104"/>
              <a:gd name="T98" fmla="*/ 103 w 103"/>
              <a:gd name="T99" fmla="*/ 104 h 104"/>
              <a:gd name="T100" fmla="*/ 85 w 103"/>
              <a:gd name="T101" fmla="*/ 104 h 104"/>
              <a:gd name="T102" fmla="*/ 85 w 103"/>
              <a:gd name="T103" fmla="*/ 91 h 104"/>
              <a:gd name="T104" fmla="*/ 84 w 103"/>
              <a:gd name="T105" fmla="*/ 92 h 104"/>
              <a:gd name="T106" fmla="*/ 80 w 103"/>
              <a:gd name="T107" fmla="*/ 104 h 104"/>
              <a:gd name="T108" fmla="*/ 56 w 103"/>
              <a:gd name="T109" fmla="*/ 104 h 104"/>
              <a:gd name="T110" fmla="*/ 50 w 103"/>
              <a:gd name="T111" fmla="*/ 104 h 104"/>
              <a:gd name="T112" fmla="*/ 25 w 103"/>
              <a:gd name="T113" fmla="*/ 104 h 104"/>
              <a:gd name="T114" fmla="*/ 21 w 103"/>
              <a:gd name="T115" fmla="*/ 92 h 104"/>
              <a:gd name="T116" fmla="*/ 20 w 103"/>
              <a:gd name="T117" fmla="*/ 91 h 104"/>
              <a:gd name="T118" fmla="*/ 20 w 103"/>
              <a:gd name="T119" fmla="*/ 104 h 104"/>
              <a:gd name="T120" fmla="*/ 0 w 103"/>
              <a:gd name="T121" fmla="*/ 104 h 104"/>
              <a:gd name="T122" fmla="*/ 5 w 103"/>
              <a:gd name="T123" fmla="*/ 6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3" h="104">
                <a:moveTo>
                  <a:pt x="35" y="39"/>
                </a:moveTo>
                <a:cubicBezTo>
                  <a:pt x="35" y="32"/>
                  <a:pt x="34" y="27"/>
                  <a:pt x="37" y="19"/>
                </a:cubicBezTo>
                <a:cubicBezTo>
                  <a:pt x="45" y="31"/>
                  <a:pt x="58" y="23"/>
                  <a:pt x="68" y="20"/>
                </a:cubicBezTo>
                <a:cubicBezTo>
                  <a:pt x="69" y="26"/>
                  <a:pt x="69" y="31"/>
                  <a:pt x="69" y="39"/>
                </a:cubicBezTo>
                <a:cubicBezTo>
                  <a:pt x="76" y="33"/>
                  <a:pt x="76" y="16"/>
                  <a:pt x="72" y="10"/>
                </a:cubicBezTo>
                <a:cubicBezTo>
                  <a:pt x="65" y="0"/>
                  <a:pt x="40" y="0"/>
                  <a:pt x="33" y="8"/>
                </a:cubicBezTo>
                <a:cubicBezTo>
                  <a:pt x="30" y="12"/>
                  <a:pt x="26" y="34"/>
                  <a:pt x="35" y="39"/>
                </a:cubicBezTo>
                <a:close/>
                <a:moveTo>
                  <a:pt x="5" y="67"/>
                </a:moveTo>
                <a:cubicBezTo>
                  <a:pt x="13" y="64"/>
                  <a:pt x="20" y="62"/>
                  <a:pt x="28" y="59"/>
                </a:cubicBezTo>
                <a:cubicBezTo>
                  <a:pt x="27" y="76"/>
                  <a:pt x="27" y="76"/>
                  <a:pt x="27" y="76"/>
                </a:cubicBezTo>
                <a:cubicBezTo>
                  <a:pt x="31" y="75"/>
                  <a:pt x="31" y="75"/>
                  <a:pt x="31" y="75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35" y="92"/>
                  <a:pt x="40" y="100"/>
                </a:cubicBezTo>
                <a:cubicBezTo>
                  <a:pt x="41" y="101"/>
                  <a:pt x="42" y="101"/>
                  <a:pt x="43" y="102"/>
                </a:cubicBezTo>
                <a:cubicBezTo>
                  <a:pt x="39" y="95"/>
                  <a:pt x="32" y="82"/>
                  <a:pt x="30" y="79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3"/>
                  <a:pt x="34" y="73"/>
                  <a:pt x="34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59"/>
                  <a:pt x="29" y="59"/>
                  <a:pt x="29" y="59"/>
                </a:cubicBezTo>
                <a:cubicBezTo>
                  <a:pt x="32" y="57"/>
                  <a:pt x="37" y="55"/>
                  <a:pt x="39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67"/>
                  <a:pt x="40" y="67"/>
                  <a:pt x="40" y="67"/>
                </a:cubicBezTo>
                <a:cubicBezTo>
                  <a:pt x="46" y="83"/>
                  <a:pt x="46" y="83"/>
                  <a:pt x="46" y="83"/>
                </a:cubicBezTo>
                <a:cubicBezTo>
                  <a:pt x="50" y="67"/>
                  <a:pt x="50" y="67"/>
                  <a:pt x="50" y="67"/>
                </a:cubicBezTo>
                <a:cubicBezTo>
                  <a:pt x="48" y="64"/>
                  <a:pt x="48" y="64"/>
                  <a:pt x="48" y="64"/>
                </a:cubicBezTo>
                <a:cubicBezTo>
                  <a:pt x="49" y="60"/>
                  <a:pt x="49" y="60"/>
                  <a:pt x="49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8" y="64"/>
                  <a:pt x="58" y="64"/>
                  <a:pt x="58" y="64"/>
                </a:cubicBezTo>
                <a:cubicBezTo>
                  <a:pt x="56" y="67"/>
                  <a:pt x="56" y="67"/>
                  <a:pt x="56" y="67"/>
                </a:cubicBezTo>
                <a:cubicBezTo>
                  <a:pt x="59" y="83"/>
                  <a:pt x="59" y="83"/>
                  <a:pt x="59" y="83"/>
                </a:cubicBezTo>
                <a:cubicBezTo>
                  <a:pt x="65" y="68"/>
                  <a:pt x="65" y="68"/>
                  <a:pt x="65" y="68"/>
                </a:cubicBezTo>
                <a:cubicBezTo>
                  <a:pt x="66" y="54"/>
                  <a:pt x="66" y="54"/>
                  <a:pt x="66" y="54"/>
                </a:cubicBezTo>
                <a:cubicBezTo>
                  <a:pt x="69" y="56"/>
                  <a:pt x="72" y="58"/>
                  <a:pt x="74" y="59"/>
                </a:cubicBezTo>
                <a:cubicBezTo>
                  <a:pt x="75" y="73"/>
                  <a:pt x="75" y="73"/>
                  <a:pt x="75" y="73"/>
                </a:cubicBezTo>
                <a:cubicBezTo>
                  <a:pt x="70" y="73"/>
                  <a:pt x="70" y="73"/>
                  <a:pt x="70" y="73"/>
                </a:cubicBezTo>
                <a:cubicBezTo>
                  <a:pt x="69" y="74"/>
                  <a:pt x="69" y="74"/>
                  <a:pt x="69" y="74"/>
                </a:cubicBezTo>
                <a:cubicBezTo>
                  <a:pt x="74" y="79"/>
                  <a:pt x="74" y="79"/>
                  <a:pt x="74" y="79"/>
                </a:cubicBezTo>
                <a:cubicBezTo>
                  <a:pt x="72" y="81"/>
                  <a:pt x="67" y="91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2" y="100"/>
                  <a:pt x="62" y="101"/>
                  <a:pt x="61" y="102"/>
                </a:cubicBezTo>
                <a:cubicBezTo>
                  <a:pt x="62" y="101"/>
                  <a:pt x="63" y="101"/>
                  <a:pt x="63" y="100"/>
                </a:cubicBezTo>
                <a:cubicBezTo>
                  <a:pt x="69" y="92"/>
                  <a:pt x="75" y="79"/>
                  <a:pt x="76" y="79"/>
                </a:cubicBezTo>
                <a:cubicBezTo>
                  <a:pt x="76" y="78"/>
                  <a:pt x="76" y="78"/>
                  <a:pt x="76" y="78"/>
                </a:cubicBezTo>
                <a:cubicBezTo>
                  <a:pt x="72" y="75"/>
                  <a:pt x="72" y="75"/>
                  <a:pt x="72" y="75"/>
                </a:cubicBezTo>
                <a:cubicBezTo>
                  <a:pt x="77" y="76"/>
                  <a:pt x="77" y="76"/>
                  <a:pt x="77" y="76"/>
                </a:cubicBezTo>
                <a:cubicBezTo>
                  <a:pt x="75" y="59"/>
                  <a:pt x="75" y="59"/>
                  <a:pt x="75" y="59"/>
                </a:cubicBezTo>
                <a:cubicBezTo>
                  <a:pt x="98" y="67"/>
                  <a:pt x="98" y="67"/>
                  <a:pt x="98" y="67"/>
                </a:cubicBezTo>
                <a:cubicBezTo>
                  <a:pt x="103" y="77"/>
                  <a:pt x="103" y="90"/>
                  <a:pt x="103" y="104"/>
                </a:cubicBezTo>
                <a:cubicBezTo>
                  <a:pt x="85" y="104"/>
                  <a:pt x="85" y="104"/>
                  <a:pt x="85" y="104"/>
                </a:cubicBezTo>
                <a:cubicBezTo>
                  <a:pt x="85" y="91"/>
                  <a:pt x="85" y="91"/>
                  <a:pt x="85" y="91"/>
                </a:cubicBezTo>
                <a:cubicBezTo>
                  <a:pt x="84" y="92"/>
                  <a:pt x="84" y="92"/>
                  <a:pt x="84" y="92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56" y="104"/>
                  <a:pt x="56" y="104"/>
                  <a:pt x="56" y="104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5" y="104"/>
                  <a:pt x="25" y="104"/>
                  <a:pt x="25" y="104"/>
                </a:cubicBezTo>
                <a:cubicBezTo>
                  <a:pt x="21" y="92"/>
                  <a:pt x="21" y="92"/>
                  <a:pt x="21" y="92"/>
                </a:cubicBezTo>
                <a:cubicBezTo>
                  <a:pt x="20" y="91"/>
                  <a:pt x="20" y="91"/>
                  <a:pt x="20" y="91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86"/>
                  <a:pt x="1" y="74"/>
                  <a:pt x="5" y="6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5" name="矩形 164"/>
          <p:cNvSpPr/>
          <p:nvPr/>
        </p:nvSpPr>
        <p:spPr>
          <a:xfrm rot="791625">
            <a:off x="1366759" y="3930859"/>
            <a:ext cx="4924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生</a:t>
            </a:r>
          </a:p>
        </p:txBody>
      </p:sp>
      <p:sp>
        <p:nvSpPr>
          <p:cNvPr id="166" name="五角星 165"/>
          <p:cNvSpPr/>
          <p:nvPr/>
        </p:nvSpPr>
        <p:spPr bwMode="auto">
          <a:xfrm>
            <a:off x="791912" y="3408505"/>
            <a:ext cx="213180" cy="222596"/>
          </a:xfrm>
          <a:prstGeom prst="star5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68562" tIns="34281" rIns="68562" bIns="34281" numCol="1" rtlCol="0" anchor="t" anchorCtr="0" compatLnSpc="1">
            <a:prstTxWarp prst="textNoShape">
              <a:avLst/>
            </a:prstTxWarp>
          </a:bodyPr>
          <a:lstStyle/>
          <a:p>
            <a:pPr defTabSz="685617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2711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2" descr="C:\Users\Administrator\Desktop\未标题-1-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9037" y="1057584"/>
            <a:ext cx="7842083" cy="2573924"/>
          </a:xfrm>
          <a:prstGeom prst="rect">
            <a:avLst/>
          </a:prstGeom>
          <a:noFill/>
        </p:spPr>
      </p:pic>
      <p:pic>
        <p:nvPicPr>
          <p:cNvPr id="99" name="Picture 2" descr="C:\Users\Administrator\Desktop\未标题-1-01.png"/>
          <p:cNvPicPr>
            <a:picLocks noChangeAspect="1" noChangeArrowheads="1"/>
          </p:cNvPicPr>
          <p:nvPr/>
        </p:nvPicPr>
        <p:blipFill rotWithShape="1">
          <a:blip r:embed="rId3" cstate="print"/>
          <a:srcRect l="50407" t="50735"/>
          <a:stretch/>
        </p:blipFill>
        <p:spPr bwMode="auto">
          <a:xfrm>
            <a:off x="4557768" y="2352476"/>
            <a:ext cx="3889107" cy="1268038"/>
          </a:xfrm>
          <a:prstGeom prst="rect">
            <a:avLst/>
          </a:prstGeom>
          <a:noFill/>
        </p:spPr>
      </p:pic>
      <p:pic>
        <p:nvPicPr>
          <p:cNvPr id="100" name="Picture 2" descr="C:\Users\Administrator\Desktop\未标题-1-01.png">
            <a:hlinkClick r:id="rId4" action="ppaction://hlinkfile"/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t="50189" r="49951"/>
          <a:stretch/>
        </p:blipFill>
        <p:spPr bwMode="auto">
          <a:xfrm>
            <a:off x="587416" y="2339588"/>
            <a:ext cx="3924842" cy="1282105"/>
          </a:xfrm>
          <a:prstGeom prst="rect">
            <a:avLst/>
          </a:prstGeom>
          <a:noFill/>
        </p:spPr>
      </p:pic>
      <p:pic>
        <p:nvPicPr>
          <p:cNvPr id="101" name="Picture 2" descr="C:\Users\Administrator\Desktop\未标题-1-01.png"/>
          <p:cNvPicPr>
            <a:picLocks noChangeAspect="1" noChangeArrowheads="1"/>
          </p:cNvPicPr>
          <p:nvPr/>
        </p:nvPicPr>
        <p:blipFill rotWithShape="1">
          <a:blip r:embed="rId3" cstate="print"/>
          <a:srcRect l="49988" t="1365" b="48900"/>
          <a:stretch/>
        </p:blipFill>
        <p:spPr bwMode="auto">
          <a:xfrm>
            <a:off x="4525109" y="1097010"/>
            <a:ext cx="3921932" cy="1280123"/>
          </a:xfrm>
          <a:prstGeom prst="rect">
            <a:avLst/>
          </a:prstGeom>
          <a:noFill/>
        </p:spPr>
      </p:pic>
      <p:pic>
        <p:nvPicPr>
          <p:cNvPr id="102" name="Picture 2" descr="C:\Users\Administrator\Desktop\未标题-1-01.png">
            <a:hlinkClick r:id="rId5" action="ppaction://hlinkfile"/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r="49981" b="50175"/>
          <a:stretch/>
        </p:blipFill>
        <p:spPr bwMode="auto">
          <a:xfrm>
            <a:off x="595904" y="1066039"/>
            <a:ext cx="3922496" cy="1282442"/>
          </a:xfrm>
          <a:prstGeom prst="rect">
            <a:avLst/>
          </a:prstGeom>
          <a:noFill/>
        </p:spPr>
      </p:pic>
      <p:pic>
        <p:nvPicPr>
          <p:cNvPr id="103" name="Picture 5" descr="C:\Users\Administrator\Desktop\云-01.png"/>
          <p:cNvPicPr>
            <a:picLocks noChangeAspect="1" noChangeArrowheads="1"/>
          </p:cNvPicPr>
          <p:nvPr/>
        </p:nvPicPr>
        <p:blipFill>
          <a:blip r:embed="rId6" cstate="print">
            <a:lum bright="-10000" contrast="16000"/>
          </a:blip>
          <a:srcRect/>
          <a:stretch>
            <a:fillRect/>
          </a:stretch>
        </p:blipFill>
        <p:spPr bwMode="auto">
          <a:xfrm>
            <a:off x="3278143" y="1622563"/>
            <a:ext cx="2465754" cy="1475944"/>
          </a:xfrm>
          <a:prstGeom prst="rect">
            <a:avLst/>
          </a:prstGeom>
          <a:noFill/>
        </p:spPr>
      </p:pic>
      <p:sp>
        <p:nvSpPr>
          <p:cNvPr id="104" name="梯形 103"/>
          <p:cNvSpPr/>
          <p:nvPr/>
        </p:nvSpPr>
        <p:spPr>
          <a:xfrm>
            <a:off x="458908" y="4021997"/>
            <a:ext cx="8145226" cy="457816"/>
          </a:xfrm>
          <a:prstGeom prst="trapezoid">
            <a:avLst>
              <a:gd name="adj" fmla="val 258917"/>
            </a:avLst>
          </a:prstGeom>
          <a:gradFill flip="none" rotWithShape="1">
            <a:gsLst>
              <a:gs pos="100000">
                <a:schemeClr val="bg1">
                  <a:lumMod val="75000"/>
                  <a:alpha val="64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lin ang="5400000" scaled="0"/>
            <a:tileRect/>
          </a:gradFill>
          <a:ln w="6350">
            <a:gradFill>
              <a:gsLst>
                <a:gs pos="63000">
                  <a:schemeClr val="bg1">
                    <a:lumMod val="85000"/>
                    <a:alpha val="29000"/>
                  </a:schemeClr>
                </a:gs>
                <a:gs pos="69000">
                  <a:schemeClr val="bg2">
                    <a:lumMod val="75000"/>
                    <a:alpha val="0"/>
                  </a:schemeClr>
                </a:gs>
                <a:gs pos="97000">
                  <a:schemeClr val="bg1">
                    <a:lumMod val="65000"/>
                    <a:alpha val="88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37" tIns="45719" rIns="91437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1219363" fontAlgn="ctr">
              <a:lnSpc>
                <a:spcPts val="1500"/>
              </a:lnSpc>
              <a:defRPr/>
            </a:pPr>
            <a:endParaRPr lang="en-US" altLang="en-US" sz="7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kkurat Pro" charset="0"/>
              <a:sym typeface="Arial" pitchFamily="34" charset="0"/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6773005" y="1233245"/>
            <a:ext cx="146470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能力 </a:t>
            </a:r>
          </a:p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评估</a:t>
            </a:r>
          </a:p>
        </p:txBody>
      </p:sp>
      <p:sp>
        <p:nvSpPr>
          <p:cNvPr id="106" name="文本框 105"/>
          <p:cNvSpPr txBox="1"/>
          <p:nvPr/>
        </p:nvSpPr>
        <p:spPr>
          <a:xfrm>
            <a:off x="6559394" y="1593164"/>
            <a:ext cx="189191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 b="1">
                <a:solidFill>
                  <a:srgbClr val="FAA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100+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华为认证课程在线评估，能力发展计划</a:t>
            </a:r>
          </a:p>
        </p:txBody>
      </p:sp>
      <p:sp>
        <p:nvSpPr>
          <p:cNvPr id="107" name="文本框 106"/>
          <p:cNvSpPr txBox="1"/>
          <p:nvPr/>
        </p:nvSpPr>
        <p:spPr>
          <a:xfrm>
            <a:off x="6559394" y="3038301"/>
            <a:ext cx="18919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 b="1">
                <a:solidFill>
                  <a:srgbClr val="FAA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sz="900" b="0">
                <a:solidFill>
                  <a:srgbClr val="92929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站式注册、学习、演练、考试、认证平台</a:t>
            </a:r>
          </a:p>
        </p:txBody>
      </p:sp>
      <p:sp>
        <p:nvSpPr>
          <p:cNvPr id="108" name="矩形 107"/>
          <p:cNvSpPr/>
          <p:nvPr/>
        </p:nvSpPr>
        <p:spPr>
          <a:xfrm>
            <a:off x="6773005" y="2668824"/>
            <a:ext cx="146470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微 </a:t>
            </a:r>
          </a:p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认证</a:t>
            </a:r>
          </a:p>
        </p:txBody>
      </p:sp>
      <p:sp>
        <p:nvSpPr>
          <p:cNvPr id="109" name="文本框 108"/>
          <p:cNvSpPr txBox="1"/>
          <p:nvPr/>
        </p:nvSpPr>
        <p:spPr>
          <a:xfrm>
            <a:off x="583983" y="1593164"/>
            <a:ext cx="1479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+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已选课程，</a:t>
            </a:r>
          </a:p>
          <a:p>
            <a:r>
              <a:rPr lang="zh-CN" altLang="en-US" sz="90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覆盖</a:t>
            </a:r>
            <a:r>
              <a:rPr lang="en-US" altLang="zh-CN" sz="1000" b="1" dirty="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8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技术领域</a:t>
            </a:r>
          </a:p>
        </p:txBody>
      </p:sp>
      <p:sp>
        <p:nvSpPr>
          <p:cNvPr id="110" name="矩形 109"/>
          <p:cNvSpPr/>
          <p:nvPr/>
        </p:nvSpPr>
        <p:spPr>
          <a:xfrm>
            <a:off x="843673" y="1233245"/>
            <a:ext cx="96033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20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优秀 </a:t>
            </a:r>
          </a:p>
          <a:p>
            <a:pPr algn="ctr"/>
            <a:r>
              <a:rPr lang="en-US" altLang="zh-CN" sz="120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OOCs</a:t>
            </a:r>
          </a:p>
        </p:txBody>
      </p:sp>
      <p:sp>
        <p:nvSpPr>
          <p:cNvPr id="111" name="文本框 110"/>
          <p:cNvSpPr txBox="1"/>
          <p:nvPr/>
        </p:nvSpPr>
        <p:spPr>
          <a:xfrm>
            <a:off x="562774" y="3038301"/>
            <a:ext cx="1522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 b="1">
                <a:solidFill>
                  <a:srgbClr val="FAA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sz="900" b="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专家、金牌讲师、</a:t>
            </a:r>
            <a:r>
              <a:rPr lang="en-US" altLang="zh-CN" sz="900" b="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CIE</a:t>
            </a:r>
            <a:r>
              <a:rPr lang="zh-CN" altLang="en-US" sz="900" b="0" dirty="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监考官等</a:t>
            </a:r>
          </a:p>
        </p:txBody>
      </p:sp>
      <p:sp>
        <p:nvSpPr>
          <p:cNvPr id="112" name="矩形 111"/>
          <p:cNvSpPr/>
          <p:nvPr/>
        </p:nvSpPr>
        <p:spPr>
          <a:xfrm>
            <a:off x="843673" y="2668824"/>
            <a:ext cx="96033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直播 </a:t>
            </a:r>
          </a:p>
          <a:p>
            <a:pPr algn="ctr"/>
            <a:r>
              <a:rPr lang="zh-CN" altLang="en-US" sz="1200">
                <a:solidFill>
                  <a:srgbClr val="63656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专家</a:t>
            </a:r>
          </a:p>
        </p:txBody>
      </p:sp>
      <p:sp>
        <p:nvSpPr>
          <p:cNvPr id="113" name="副标题 1"/>
          <p:cNvSpPr txBox="1">
            <a:spLocks/>
          </p:cNvSpPr>
          <p:nvPr/>
        </p:nvSpPr>
        <p:spPr>
          <a:xfrm>
            <a:off x="3412225" y="2517064"/>
            <a:ext cx="2181893" cy="29936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4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学习早人一步</a:t>
            </a:r>
          </a:p>
        </p:txBody>
      </p:sp>
      <p:pic>
        <p:nvPicPr>
          <p:cNvPr id="114" name="图片 113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552" y="2199582"/>
            <a:ext cx="1010950" cy="289928"/>
          </a:xfrm>
          <a:prstGeom prst="rect">
            <a:avLst/>
          </a:prstGeom>
        </p:spPr>
      </p:pic>
      <p:sp>
        <p:nvSpPr>
          <p:cNvPr id="115" name="文本框 114"/>
          <p:cNvSpPr txBox="1"/>
          <p:nvPr/>
        </p:nvSpPr>
        <p:spPr>
          <a:xfrm>
            <a:off x="1292521" y="3927991"/>
            <a:ext cx="27270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1" indent="-179988">
              <a:buFont typeface="Arial" panose="020B0604020202020204" pitchFamily="34" charset="0"/>
              <a:buChar char="•"/>
            </a:pPr>
            <a:r>
              <a:rPr lang="en-US" altLang="zh-CN" sz="110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50</a:t>
            </a:r>
            <a:r>
              <a:rPr lang="zh-CN" altLang="en-US" sz="110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r>
              <a:rPr lang="zh-CN" altLang="en-US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注册用户</a:t>
            </a:r>
          </a:p>
          <a:p>
            <a:pPr marL="285731" indent="-179988">
              <a:buFont typeface="Arial" panose="020B0604020202020204" pitchFamily="34" charset="0"/>
              <a:buChar char="•"/>
            </a:pPr>
            <a:r>
              <a:rPr lang="en-US" altLang="zh-CN" sz="110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+</a:t>
            </a:r>
            <a:r>
              <a:rPr lang="zh-CN" altLang="en-US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已选课程</a:t>
            </a:r>
          </a:p>
        </p:txBody>
      </p:sp>
      <p:sp>
        <p:nvSpPr>
          <p:cNvPr id="116" name="文本框 115"/>
          <p:cNvSpPr txBox="1"/>
          <p:nvPr/>
        </p:nvSpPr>
        <p:spPr>
          <a:xfrm>
            <a:off x="3822625" y="3920957"/>
            <a:ext cx="4327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1" indent="-179988">
              <a:buFont typeface="Arial" panose="020B0604020202020204" pitchFamily="34" charset="0"/>
              <a:buChar char="•"/>
            </a:pPr>
            <a:r>
              <a:rPr lang="en-US" altLang="zh-CN" sz="110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00+</a:t>
            </a:r>
            <a:r>
              <a:rPr lang="zh-CN" altLang="en-US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华为认证课程在线评估</a:t>
            </a:r>
          </a:p>
          <a:p>
            <a:pPr marL="285731" indent="-179988">
              <a:buFont typeface="Arial" panose="020B0604020202020204" pitchFamily="34" charset="0"/>
              <a:buChar char="•"/>
            </a:pPr>
            <a:r>
              <a:rPr lang="en-US" altLang="zh-CN" sz="1100">
                <a:solidFill>
                  <a:srgbClr val="DF7D0A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</a:t>
            </a:r>
            <a:r>
              <a:rPr lang="zh-CN" altLang="en-US" sz="1100">
                <a:solidFill>
                  <a:srgbClr val="DF7D0A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r>
              <a:rPr lang="zh-CN" altLang="en-US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次课程</a:t>
            </a:r>
            <a:r>
              <a:rPr lang="en-US" altLang="zh-CN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</a:t>
            </a:r>
          </a:p>
        </p:txBody>
      </p:sp>
      <p:sp>
        <p:nvSpPr>
          <p:cNvPr id="117" name="标题 1"/>
          <p:cNvSpPr txBox="1">
            <a:spLocks/>
          </p:cNvSpPr>
          <p:nvPr/>
        </p:nvSpPr>
        <p:spPr>
          <a:xfrm>
            <a:off x="256935" y="688291"/>
            <a:ext cx="8347199" cy="5128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685617" rtl="1" fontAlgn="base">
              <a:spcBef>
                <a:spcPct val="0"/>
              </a:spcBef>
              <a:spcAft>
                <a:spcPct val="0"/>
              </a:spcAft>
              <a:buNone/>
              <a:defRPr sz="2399" b="1" kern="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教育</a:t>
            </a:r>
            <a:r>
              <a:rPr lang="en-US" altLang="zh-CN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助力智慧人才项目</a:t>
            </a:r>
          </a:p>
        </p:txBody>
      </p:sp>
    </p:spTree>
    <p:extLst>
      <p:ext uri="{BB962C8B-B14F-4D97-AF65-F5344CB8AC3E}">
        <p14:creationId xmlns:p14="http://schemas.microsoft.com/office/powerpoint/2010/main" val="3622871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 txBox="1">
            <a:spLocks/>
          </p:cNvSpPr>
          <p:nvPr/>
        </p:nvSpPr>
        <p:spPr>
          <a:xfrm>
            <a:off x="2581527" y="1962151"/>
            <a:ext cx="3971673" cy="1219199"/>
          </a:xfrm>
          <a:prstGeom prst="rect">
            <a:avLst/>
          </a:prstGeom>
        </p:spPr>
        <p:txBody>
          <a:bodyPr anchor="ctr"/>
          <a:lstStyle>
            <a:lvl1pPr algn="ctr" defTabSz="685722" rtl="1" eaLnBrk="1" latinLnBrk="0" hangingPunct="1">
              <a:spcBef>
                <a:spcPct val="0"/>
              </a:spcBef>
              <a:buNone/>
              <a:defRPr sz="33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50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2146163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 txBox="1">
            <a:spLocks/>
          </p:cNvSpPr>
          <p:nvPr/>
        </p:nvSpPr>
        <p:spPr>
          <a:xfrm>
            <a:off x="2581527" y="1962151"/>
            <a:ext cx="3971673" cy="1219199"/>
          </a:xfrm>
          <a:prstGeom prst="rect">
            <a:avLst/>
          </a:prstGeom>
        </p:spPr>
        <p:txBody>
          <a:bodyPr anchor="ctr"/>
          <a:lstStyle>
            <a:lvl1pPr algn="ctr" defTabSz="685722" rtl="1" eaLnBrk="1" latinLnBrk="0" hangingPunct="1">
              <a:spcBef>
                <a:spcPct val="0"/>
              </a:spcBef>
              <a:buNone/>
              <a:defRPr sz="33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50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1393824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 txBox="1">
            <a:spLocks/>
          </p:cNvSpPr>
          <p:nvPr/>
        </p:nvSpPr>
        <p:spPr>
          <a:xfrm>
            <a:off x="304800" y="746652"/>
            <a:ext cx="6096000" cy="529698"/>
          </a:xfrm>
          <a:prstGeom prst="rect">
            <a:avLst/>
          </a:prstGeom>
        </p:spPr>
        <p:txBody>
          <a:bodyPr/>
          <a:lstStyle>
            <a:lvl1pPr algn="ctr" defTabSz="685722" rtl="1" eaLnBrk="1" latinLnBrk="0" hangingPunct="1">
              <a:spcBef>
                <a:spcPct val="0"/>
              </a:spcBef>
              <a:buNone/>
              <a:defRPr sz="33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沙特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30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愿景和皇家委员会</a:t>
            </a:r>
            <a:endParaRPr lang="en-US" altLang="zh-CN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" name="Content Placeholder 4"/>
          <p:cNvSpPr txBox="1">
            <a:spLocks/>
          </p:cNvSpPr>
          <p:nvPr/>
        </p:nvSpPr>
        <p:spPr>
          <a:xfrm>
            <a:off x="588595" y="1600605"/>
            <a:ext cx="4364405" cy="2876145"/>
          </a:xfrm>
          <a:prstGeom prst="rect">
            <a:avLst/>
          </a:prstGeom>
        </p:spPr>
        <p:txBody>
          <a:bodyPr>
            <a:normAutofit/>
          </a:bodyPr>
          <a:lstStyle>
            <a:lvl1pPr marL="257146" indent="-257146" algn="r" defTabSz="685722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49" indent="-214288" algn="r" defTabSz="685722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153" indent="-171431" algn="r" defTabSz="685722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14" indent="-171431" algn="r" defTabSz="685722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875" indent="-171431" algn="r" defTabSz="685722" rtl="1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736" indent="-171431" algn="l" defTabSz="6857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97" indent="-171431" algn="l" defTabSz="6857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458" indent="-171431" algn="l" defTabSz="6857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319" indent="-171431" algn="l" defTabSz="6857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chemeClr val="bg1"/>
              </a:buClr>
            </a:pPr>
            <a:r>
              <a:rPr lang="zh-CN" altLang="en-US" sz="1400" dirty="0">
                <a:latin typeface="Arial" pitchFamily="34" charset="0"/>
                <a:cs typeface="Arial" pitchFamily="34" charset="0"/>
              </a:rPr>
              <a:t>皇家委员会的目标与沙特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2030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愿景一致，致力于促进下游产业发展。</a:t>
            </a:r>
          </a:p>
          <a:p>
            <a:pPr algn="l">
              <a:buClr>
                <a:schemeClr val="bg1"/>
              </a:buClr>
            </a:pPr>
            <a:endParaRPr lang="zh-CN" altLang="en-US" sz="1400" dirty="0">
              <a:latin typeface="Arial" pitchFamily="34" charset="0"/>
              <a:cs typeface="Arial" pitchFamily="34" charset="0"/>
            </a:endParaRPr>
          </a:p>
          <a:p>
            <a:pPr algn="l">
              <a:buClr>
                <a:schemeClr val="bg1"/>
              </a:buClr>
            </a:pPr>
            <a:r>
              <a:rPr lang="zh-CN" altLang="en-US" sz="1400" dirty="0">
                <a:latin typeface="Arial" pitchFamily="34" charset="0"/>
                <a:cs typeface="Arial" pitchFamily="34" charset="0"/>
              </a:rPr>
              <a:t>皇家委员会的目标是扩大产业集群，以吸引高附加值投资。</a:t>
            </a:r>
          </a:p>
          <a:p>
            <a:pPr algn="l">
              <a:buClr>
                <a:schemeClr val="bg1"/>
              </a:buClr>
            </a:pPr>
            <a:endParaRPr lang="zh-CN" altLang="en-US" sz="1400" dirty="0">
              <a:latin typeface="Arial" pitchFamily="34" charset="0"/>
              <a:cs typeface="Arial" pitchFamily="34" charset="0"/>
            </a:endParaRPr>
          </a:p>
          <a:p>
            <a:pPr algn="l">
              <a:buClr>
                <a:schemeClr val="bg1"/>
              </a:buClr>
            </a:pPr>
            <a:r>
              <a:rPr lang="zh-CN" altLang="en-US" sz="1400" dirty="0">
                <a:latin typeface="Arial" pitchFamily="34" charset="0"/>
                <a:cs typeface="Arial" pitchFamily="34" charset="0"/>
              </a:rPr>
              <a:t>沙特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2030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愿景为行业之间的协同开辟了新的视野，提高竞争力。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724400" y="1352550"/>
            <a:ext cx="4097977" cy="3171217"/>
            <a:chOff x="5462690" y="1284051"/>
            <a:chExt cx="3265246" cy="2817690"/>
          </a:xfrm>
        </p:grpSpPr>
        <p:sp>
          <p:nvSpPr>
            <p:cNvPr id="9" name="Rounded Rectangle 8"/>
            <p:cNvSpPr/>
            <p:nvPr/>
          </p:nvSpPr>
          <p:spPr>
            <a:xfrm>
              <a:off x="5462690" y="1284051"/>
              <a:ext cx="3265246" cy="2817690"/>
            </a:xfrm>
            <a:prstGeom prst="roundRect">
              <a:avLst>
                <a:gd name="adj" fmla="val 2863"/>
              </a:avLst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" dist="12700" dir="2700000" algn="tl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8121" y="2488779"/>
              <a:ext cx="2174384" cy="14814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8775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6634" y="2664896"/>
            <a:ext cx="2321893" cy="3185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algn="ctr"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400" b="1" dirty="0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聚焦基础设施</a:t>
            </a:r>
            <a:endParaRPr lang="en-US" altLang="zh-CN" sz="1400" b="1" dirty="0">
              <a:solidFill>
                <a:schemeClr val="accent2"/>
              </a:solidFill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09600" y="1698010"/>
            <a:ext cx="2321893" cy="3185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algn="ctr"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400" b="1" dirty="0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聚焦应用</a:t>
            </a:r>
            <a:endParaRPr lang="en-US" altLang="zh-CN" sz="1400" b="1" dirty="0">
              <a:solidFill>
                <a:schemeClr val="accent2"/>
              </a:solidFill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930041" y="1477839"/>
            <a:ext cx="2659931" cy="3185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algn="ctr"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400" b="1" dirty="0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大数据、云、</a:t>
            </a:r>
            <a:r>
              <a:rPr lang="en-US" altLang="zh-CN" sz="1400" b="1" dirty="0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IoT</a:t>
            </a:r>
            <a:r>
              <a:rPr lang="zh-CN" altLang="en-US" sz="1400" b="1" dirty="0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平台、</a:t>
            </a:r>
            <a:r>
              <a:rPr lang="en-US" altLang="zh-CN" sz="1400" b="1" dirty="0" err="1">
                <a:solidFill>
                  <a:schemeClr val="accent2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IoC</a:t>
            </a:r>
            <a:endParaRPr lang="en-US" sz="1400" b="1" dirty="0">
              <a:solidFill>
                <a:schemeClr val="accent2"/>
              </a:solidFill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矩形 41"/>
          <p:cNvSpPr/>
          <p:nvPr/>
        </p:nvSpPr>
        <p:spPr>
          <a:xfrm>
            <a:off x="928129" y="2409706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智慧城市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1.0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42"/>
          <p:cNvSpPr/>
          <p:nvPr/>
        </p:nvSpPr>
        <p:spPr>
          <a:xfrm>
            <a:off x="3608148" y="1430864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智慧城市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2.0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43"/>
          <p:cNvSpPr/>
          <p:nvPr/>
        </p:nvSpPr>
        <p:spPr>
          <a:xfrm>
            <a:off x="6417676" y="1169221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智慧城市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rPr>
              <a:t>3.0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Straight Connector 45"/>
          <p:cNvCxnSpPr/>
          <p:nvPr/>
        </p:nvCxnSpPr>
        <p:spPr bwMode="auto">
          <a:xfrm flipH="1">
            <a:off x="5855952" y="1488832"/>
            <a:ext cx="1754" cy="2254351"/>
          </a:xfrm>
          <a:prstGeom prst="line">
            <a:avLst/>
          </a:prstGeom>
          <a:noFill/>
          <a:ln>
            <a:solidFill>
              <a:schemeClr val="bg1">
                <a:lumMod val="50000"/>
              </a:schemeClr>
            </a:solidFill>
            <a:prstDash val="lg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47"/>
          <p:cNvCxnSpPr/>
          <p:nvPr/>
        </p:nvCxnSpPr>
        <p:spPr bwMode="auto">
          <a:xfrm>
            <a:off x="8560189" y="961468"/>
            <a:ext cx="5619" cy="2748619"/>
          </a:xfrm>
          <a:prstGeom prst="line">
            <a:avLst/>
          </a:prstGeom>
          <a:noFill/>
          <a:ln>
            <a:solidFill>
              <a:schemeClr val="bg1">
                <a:lumMod val="50000"/>
              </a:schemeClr>
            </a:solidFill>
            <a:prstDash val="lg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45"/>
          <p:cNvCxnSpPr/>
          <p:nvPr/>
        </p:nvCxnSpPr>
        <p:spPr bwMode="auto">
          <a:xfrm>
            <a:off x="2743200" y="2571831"/>
            <a:ext cx="21245" cy="1695591"/>
          </a:xfrm>
          <a:prstGeom prst="line">
            <a:avLst/>
          </a:prstGeom>
          <a:noFill/>
          <a:ln>
            <a:solidFill>
              <a:schemeClr val="bg1">
                <a:lumMod val="50000"/>
              </a:schemeClr>
            </a:solidFill>
            <a:prstDash val="lg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矩形 202"/>
          <p:cNvSpPr/>
          <p:nvPr/>
        </p:nvSpPr>
        <p:spPr>
          <a:xfrm>
            <a:off x="6185836" y="2762924"/>
            <a:ext cx="273058" cy="346051"/>
          </a:xfrm>
          <a:prstGeom prst="rect">
            <a:avLst/>
          </a:prstGeom>
          <a:ln>
            <a:noFill/>
          </a:ln>
        </p:spPr>
        <p:txBody>
          <a:bodyPr wrap="square" lIns="68551" tIns="34276" rIns="68551" bIns="34276">
            <a:noAutofit/>
          </a:bodyPr>
          <a:lstStyle>
            <a:defPPr>
              <a:defRPr lang="zh-CN"/>
            </a:defPPr>
            <a:lvl1pPr marL="0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42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81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922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562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204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843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483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125" algn="l" defTabSz="1219281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1799" b="1" dirty="0">
                <a:solidFill>
                  <a:prstClr val="white"/>
                </a:solidFill>
                <a:latin typeface="Arial" panose="020B0604020202020204" pitchFamily="34" charset="0"/>
              </a:rPr>
              <a:t>+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26634" y="4242211"/>
            <a:ext cx="2321893" cy="2785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algn="ctr"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200" b="1" dirty="0"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城市网络和基础设施</a:t>
            </a:r>
            <a:endParaRPr lang="en-US" altLang="zh-CN" sz="1200" b="1" dirty="0"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863270" y="4335481"/>
            <a:ext cx="2992682" cy="51860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200" b="1" dirty="0"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rPr>
              <a:t>智慧应用：智慧电杆、照明、电表、公交、垃圾管理、场馆人群分析等</a:t>
            </a:r>
            <a:endParaRPr lang="en-US" altLang="zh-CN" sz="1200" b="1" dirty="0"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97063" y="3888088"/>
            <a:ext cx="2592909" cy="75866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200" b="1" dirty="0">
                <a:uFill>
                  <a:solidFill>
                    <a:srgbClr val="FFFFFF"/>
                  </a:solidFill>
                </a:uFill>
                <a:ea typeface="Arial"/>
                <a:cs typeface="Arial"/>
                <a:sym typeface="Arial"/>
              </a:rPr>
              <a:t>城市治理平台：智能运营中心、大数据、云、物联网等</a:t>
            </a:r>
          </a:p>
          <a:p>
            <a:pPr defTabSz="309511">
              <a:lnSpc>
                <a:spcPct val="130000"/>
              </a:lnSpc>
              <a:buClr>
                <a:srgbClr val="F8F8F8"/>
              </a:buClr>
              <a:defRPr sz="1800"/>
            </a:pPr>
            <a:r>
              <a:rPr lang="zh-CN" altLang="en-US" sz="1200" b="1" dirty="0">
                <a:uFill>
                  <a:solidFill>
                    <a:srgbClr val="FFFFFF"/>
                  </a:solidFill>
                </a:uFill>
                <a:ea typeface="Arial"/>
                <a:cs typeface="Arial"/>
                <a:sym typeface="Arial"/>
              </a:rPr>
              <a:t>数据驱动城市数字化转型</a:t>
            </a:r>
            <a:endParaRPr lang="en-US" altLang="zh-CN" sz="1200" b="1" dirty="0">
              <a:uFill>
                <a:solidFill>
                  <a:srgbClr val="FFFFFF"/>
                </a:solidFill>
              </a:u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Title 3"/>
          <p:cNvSpPr txBox="1">
            <a:spLocks/>
          </p:cNvSpPr>
          <p:nvPr/>
        </p:nvSpPr>
        <p:spPr>
          <a:xfrm>
            <a:off x="277694" y="682018"/>
            <a:ext cx="8229600" cy="5296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685722" rtl="1">
              <a:spcBef>
                <a:spcPct val="0"/>
              </a:spcBef>
              <a:buNone/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智慧延布皇家委员会的持续创新</a:t>
            </a:r>
            <a:endParaRPr lang="en-US" altLang="zh-CN" dirty="0"/>
          </a:p>
        </p:txBody>
      </p: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5350" y="2697085"/>
            <a:ext cx="2014938" cy="120436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47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000" y="3082787"/>
            <a:ext cx="2154246" cy="1142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4143" y="2114550"/>
            <a:ext cx="1590255" cy="887756"/>
          </a:xfrm>
          <a:prstGeom prst="rect">
            <a:avLst/>
          </a:prstGeom>
        </p:spPr>
      </p:pic>
      <p:grpSp>
        <p:nvGrpSpPr>
          <p:cNvPr id="49" name="Group 48"/>
          <p:cNvGrpSpPr/>
          <p:nvPr/>
        </p:nvGrpSpPr>
        <p:grpSpPr>
          <a:xfrm>
            <a:off x="2858436" y="2114550"/>
            <a:ext cx="2887360" cy="2117517"/>
            <a:chOff x="193236" y="489172"/>
            <a:chExt cx="8675386" cy="4457789"/>
          </a:xfrm>
        </p:grpSpPr>
        <p:grpSp>
          <p:nvGrpSpPr>
            <p:cNvPr id="50" name="Group 49"/>
            <p:cNvGrpSpPr/>
            <p:nvPr/>
          </p:nvGrpSpPr>
          <p:grpSpPr>
            <a:xfrm>
              <a:off x="193236" y="489172"/>
              <a:ext cx="8675386" cy="4457789"/>
              <a:chOff x="1" y="577622"/>
              <a:chExt cx="12195174" cy="5945267"/>
            </a:xfrm>
          </p:grpSpPr>
          <p:pic>
            <p:nvPicPr>
              <p:cNvPr id="52" name="图片 20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" y="577622"/>
                <a:ext cx="12195174" cy="5945267"/>
              </a:xfrm>
              <a:prstGeom prst="rect">
                <a:avLst/>
              </a:prstGeom>
            </p:spPr>
          </p:pic>
          <p:sp>
            <p:nvSpPr>
              <p:cNvPr id="53" name="矩形 26"/>
              <p:cNvSpPr/>
              <p:nvPr/>
            </p:nvSpPr>
            <p:spPr>
              <a:xfrm>
                <a:off x="8712899" y="797907"/>
                <a:ext cx="3359831" cy="130918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00">
                  <a:solidFill>
                    <a:prstClr val="white"/>
                  </a:solidFill>
                </a:endParaRPr>
              </a:p>
            </p:txBody>
          </p:sp>
          <p:pic>
            <p:nvPicPr>
              <p:cNvPr id="54" name="图片 27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812290" y="813939"/>
                <a:ext cx="1533770" cy="1317280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sp>
            <p:nvSpPr>
              <p:cNvPr id="55" name="文本框 29"/>
              <p:cNvSpPr txBox="1"/>
              <p:nvPr/>
            </p:nvSpPr>
            <p:spPr>
              <a:xfrm>
                <a:off x="10352521" y="998451"/>
                <a:ext cx="1571017" cy="6162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00" b="1" dirty="0">
                    <a:solidFill>
                      <a:prstClr val="black"/>
                    </a:solidFill>
                  </a:rPr>
                  <a:t>Smart waste management</a:t>
                </a:r>
              </a:p>
            </p:txBody>
          </p:sp>
          <p:sp>
            <p:nvSpPr>
              <p:cNvPr id="56" name="矩形 30"/>
              <p:cNvSpPr/>
              <p:nvPr/>
            </p:nvSpPr>
            <p:spPr>
              <a:xfrm>
                <a:off x="215939" y="2745182"/>
                <a:ext cx="2085831" cy="30258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00">
                  <a:solidFill>
                    <a:prstClr val="white"/>
                  </a:solidFill>
                </a:endParaRPr>
              </a:p>
            </p:txBody>
          </p:sp>
          <p:pic>
            <p:nvPicPr>
              <p:cNvPr id="57" name="图片 1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5000" y="4224484"/>
                <a:ext cx="2140227" cy="1545422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pic>
            <p:nvPicPr>
              <p:cNvPr id="58" name="图片 7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3909" y="2577314"/>
                <a:ext cx="2067340" cy="1180978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sp>
            <p:nvSpPr>
              <p:cNvPr id="59" name="文本框 25"/>
              <p:cNvSpPr txBox="1"/>
              <p:nvPr/>
            </p:nvSpPr>
            <p:spPr>
              <a:xfrm>
                <a:off x="341241" y="5777063"/>
                <a:ext cx="2474587" cy="462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00" b="1" dirty="0">
                    <a:solidFill>
                      <a:prstClr val="black"/>
                    </a:solidFill>
                  </a:rPr>
                  <a:t>Smart Pole</a:t>
                </a:r>
              </a:p>
            </p:txBody>
          </p:sp>
          <p:sp>
            <p:nvSpPr>
              <p:cNvPr id="60" name="文本框 31"/>
              <p:cNvSpPr txBox="1"/>
              <p:nvPr/>
            </p:nvSpPr>
            <p:spPr>
              <a:xfrm>
                <a:off x="354492" y="3738982"/>
                <a:ext cx="1908313" cy="462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00" b="1" dirty="0">
                    <a:solidFill>
                      <a:prstClr val="black"/>
                    </a:solidFill>
                  </a:rPr>
                  <a:t>Smart lighting</a:t>
                </a:r>
              </a:p>
            </p:txBody>
          </p:sp>
        </p:grpSp>
        <p:sp>
          <p:nvSpPr>
            <p:cNvPr id="51" name="文本框 17"/>
            <p:cNvSpPr txBox="1"/>
            <p:nvPr/>
          </p:nvSpPr>
          <p:spPr>
            <a:xfrm>
              <a:off x="3514941" y="3890987"/>
              <a:ext cx="2045727" cy="346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" dirty="0">
                  <a:solidFill>
                    <a:prstClr val="black"/>
                  </a:solidFill>
                </a:rPr>
                <a:t>BIG DATA Platfor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0014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8491" y="1518100"/>
            <a:ext cx="914359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1">
            <a:spAutoFit/>
          </a:bodyPr>
          <a:lstStyle/>
          <a:p>
            <a:pPr algn="ctr"/>
            <a:r>
              <a:rPr lang="zh-CN" altLang="en-US" sz="105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城市</a:t>
            </a:r>
          </a:p>
        </p:txBody>
      </p:sp>
      <p:sp>
        <p:nvSpPr>
          <p:cNvPr id="4" name="595530097"/>
          <p:cNvSpPr/>
          <p:nvPr/>
        </p:nvSpPr>
        <p:spPr>
          <a:xfrm>
            <a:off x="347315" y="3611920"/>
            <a:ext cx="96637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动态重型车辆测重</a:t>
            </a:r>
          </a:p>
        </p:txBody>
      </p:sp>
      <p:sp>
        <p:nvSpPr>
          <p:cNvPr id="5" name="595530097"/>
          <p:cNvSpPr/>
          <p:nvPr/>
        </p:nvSpPr>
        <p:spPr>
          <a:xfrm>
            <a:off x="1387130" y="3611920"/>
            <a:ext cx="109121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 dirty="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停车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 dirty="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动化系统</a:t>
            </a:r>
          </a:p>
        </p:txBody>
      </p:sp>
      <p:sp>
        <p:nvSpPr>
          <p:cNvPr id="6" name="595530097"/>
          <p:cNvSpPr/>
          <p:nvPr/>
        </p:nvSpPr>
        <p:spPr>
          <a:xfrm>
            <a:off x="2460422" y="3611920"/>
            <a:ext cx="109121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照明控制系统</a:t>
            </a:r>
          </a:p>
        </p:txBody>
      </p:sp>
      <p:sp>
        <p:nvSpPr>
          <p:cNvPr id="7" name="595530097"/>
          <p:cNvSpPr/>
          <p:nvPr/>
        </p:nvSpPr>
        <p:spPr>
          <a:xfrm>
            <a:off x="3449574" y="3611920"/>
            <a:ext cx="109121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 dirty="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智慧基础设施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 dirty="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</a:p>
        </p:txBody>
      </p:sp>
      <p:sp>
        <p:nvSpPr>
          <p:cNvPr id="8" name="595530097"/>
          <p:cNvSpPr/>
          <p:nvPr/>
        </p:nvSpPr>
        <p:spPr>
          <a:xfrm>
            <a:off x="4366740" y="3611920"/>
            <a:ext cx="1169570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智能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垃圾管理系统</a:t>
            </a:r>
          </a:p>
        </p:txBody>
      </p:sp>
      <p:sp>
        <p:nvSpPr>
          <p:cNvPr id="12" name="595530097"/>
          <p:cNvSpPr/>
          <p:nvPr/>
        </p:nvSpPr>
        <p:spPr>
          <a:xfrm>
            <a:off x="6742245" y="3611920"/>
            <a:ext cx="109121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城市性能报告系统</a:t>
            </a:r>
          </a:p>
        </p:txBody>
      </p:sp>
      <p:sp>
        <p:nvSpPr>
          <p:cNvPr id="14" name="595530097"/>
          <p:cNvSpPr/>
          <p:nvPr/>
        </p:nvSpPr>
        <p:spPr>
          <a:xfrm>
            <a:off x="7793034" y="3611920"/>
            <a:ext cx="1091212" cy="264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智能人井</a:t>
            </a:r>
          </a:p>
        </p:txBody>
      </p:sp>
      <p:sp>
        <p:nvSpPr>
          <p:cNvPr id="16" name="595530097"/>
          <p:cNvSpPr/>
          <p:nvPr/>
        </p:nvSpPr>
        <p:spPr>
          <a:xfrm>
            <a:off x="5591575" y="3611920"/>
            <a:ext cx="1091212" cy="1253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7636" tIns="17636" rIns="17636" bIns="17636" numCol="1" anchor="t">
            <a:noAutofit/>
          </a:bodyPr>
          <a:lstStyle>
            <a:lvl1pPr defTabSz="1068169">
              <a:spcBef>
                <a:spcPts val="300"/>
              </a:spcBef>
              <a:defRPr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ZZhengHeiS-DB-GB"/>
                <a:ea typeface="FZZhengHeiS-DB-GB"/>
                <a:cs typeface="FZZhengHeiS-DB-GB"/>
                <a:sym typeface="FZZhengHeiS-DB-GB"/>
              </a:defRPr>
            </a:lvl1pPr>
          </a:lstStyle>
          <a:p>
            <a:pPr algn="ctr">
              <a:lnSpc>
                <a:spcPct val="120000"/>
              </a:lnSpc>
              <a:spcBef>
                <a:spcPts val="0"/>
              </a:spcBef>
              <a:defRPr sz="1800">
                <a:solidFill>
                  <a:srgbClr val="000000"/>
                </a:solidFill>
                <a:effectLst/>
              </a:defRPr>
            </a:pPr>
            <a:r>
              <a:rPr lang="zh-CN" altLang="en-US" sz="900" dirty="0">
                <a:solidFill>
                  <a:prstClr val="black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场馆人群分析</a:t>
            </a:r>
          </a:p>
        </p:txBody>
      </p:sp>
      <p:sp>
        <p:nvSpPr>
          <p:cNvPr id="17" name="同心圆 19"/>
          <p:cNvSpPr/>
          <p:nvPr/>
        </p:nvSpPr>
        <p:spPr bwMode="auto">
          <a:xfrm>
            <a:off x="304912" y="2441563"/>
            <a:ext cx="8658000" cy="311693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62" tIns="34281" rIns="68562" bIns="34281" numCol="1" rtlCol="0" anchor="t" anchorCtr="0" compatLnSpc="1">
            <a:prstTxWarp prst="textNoShape">
              <a:avLst/>
            </a:prstTxWarp>
          </a:bodyPr>
          <a:lstStyle/>
          <a:p>
            <a:pPr defTabSz="685617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300" b="1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31759" y="2428132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一张网</a:t>
            </a:r>
          </a:p>
        </p:txBody>
      </p:sp>
      <p:sp>
        <p:nvSpPr>
          <p:cNvPr id="19" name="右箭头 9"/>
          <p:cNvSpPr/>
          <p:nvPr/>
        </p:nvSpPr>
        <p:spPr>
          <a:xfrm rot="5400000">
            <a:off x="4786162" y="4116385"/>
            <a:ext cx="342167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右箭头 9"/>
          <p:cNvSpPr/>
          <p:nvPr/>
        </p:nvSpPr>
        <p:spPr>
          <a:xfrm rot="5400000">
            <a:off x="2840664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右箭头 9"/>
          <p:cNvSpPr/>
          <p:nvPr/>
        </p:nvSpPr>
        <p:spPr>
          <a:xfrm rot="5400000">
            <a:off x="3829816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右箭头 9"/>
          <p:cNvSpPr/>
          <p:nvPr/>
        </p:nvSpPr>
        <p:spPr>
          <a:xfrm rot="5400000">
            <a:off x="665137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右箭头 9"/>
          <p:cNvSpPr/>
          <p:nvPr/>
        </p:nvSpPr>
        <p:spPr>
          <a:xfrm rot="5400000">
            <a:off x="5964513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右箭头 9"/>
          <p:cNvSpPr/>
          <p:nvPr/>
        </p:nvSpPr>
        <p:spPr>
          <a:xfrm rot="5400000">
            <a:off x="1767372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22386" y="4528461"/>
            <a:ext cx="13049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收入增加</a:t>
            </a:r>
            <a:r>
              <a:rPr lang="en-US" altLang="zh-CN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M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美金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590678" y="4443524"/>
            <a:ext cx="16362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垃圾清理效率 </a:t>
            </a:r>
          </a:p>
          <a:p>
            <a:pPr marL="342900" indent="-342900" algn="ctr">
              <a:defRPr/>
            </a:pPr>
            <a:r>
              <a:rPr lang="zh-CN" altLang="en-US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提升</a:t>
            </a:r>
            <a:r>
              <a:rPr lang="en-US" altLang="zh-CN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0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129691" y="4443524"/>
            <a:ext cx="15179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公共照明成本 </a:t>
            </a:r>
          </a:p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节省</a:t>
            </a:r>
            <a:r>
              <a:rPr lang="en-US" altLang="zh-CN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0%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67003" y="4443524"/>
            <a:ext cx="13239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defRPr/>
            </a:pPr>
            <a:r>
              <a:rPr lang="zh-CN" altLang="en-US" sz="9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道路维护 </a:t>
            </a:r>
          </a:p>
          <a:p>
            <a:pPr marL="342900" indent="-342900" algn="ctr">
              <a:defRPr/>
            </a:pPr>
            <a:r>
              <a:rPr lang="zh-CN" altLang="en-US" sz="9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成本降低</a:t>
            </a:r>
            <a:r>
              <a:rPr lang="en-US" altLang="zh-CN" sz="900" b="1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%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202273" y="4418990"/>
            <a:ext cx="13748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NTP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项目</a:t>
            </a:r>
            <a:r>
              <a:rPr lang="en-US" altLang="zh-CN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0%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 </a:t>
            </a:r>
          </a:p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步入轨道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687585" y="4443524"/>
            <a:ext cx="13132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人井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O&amp;M</a:t>
            </a:r>
          </a:p>
          <a:p>
            <a:pPr marL="342900" indent="-342900"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成本降低</a:t>
            </a:r>
            <a:r>
              <a:rPr lang="en-US" altLang="zh-CN" sz="900" b="1" dirty="0">
                <a:solidFill>
                  <a:srgbClr val="DF7D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%</a:t>
            </a:r>
          </a:p>
        </p:txBody>
      </p:sp>
      <p:sp>
        <p:nvSpPr>
          <p:cNvPr id="31" name="右箭头 9"/>
          <p:cNvSpPr/>
          <p:nvPr/>
        </p:nvSpPr>
        <p:spPr>
          <a:xfrm rot="5400000">
            <a:off x="7122487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右箭头 9"/>
          <p:cNvSpPr/>
          <p:nvPr/>
        </p:nvSpPr>
        <p:spPr>
          <a:xfrm rot="5400000">
            <a:off x="8173276" y="4116386"/>
            <a:ext cx="342168" cy="133351"/>
          </a:xfrm>
          <a:prstGeom prst="rightArrow">
            <a:avLst>
              <a:gd name="adj1" fmla="val 50000"/>
              <a:gd name="adj2" fmla="val 56214"/>
            </a:avLst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14"/>
          <p:cNvSpPr/>
          <p:nvPr/>
        </p:nvSpPr>
        <p:spPr bwMode="auto">
          <a:xfrm>
            <a:off x="304800" y="4400550"/>
            <a:ext cx="8658225" cy="476250"/>
          </a:xfrm>
          <a:prstGeom prst="roundRect">
            <a:avLst>
              <a:gd name="adj" fmla="val 9859"/>
            </a:avLst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68562" tIns="34281" rIns="68562" bIns="34281" numCol="1" rtlCol="0" anchor="t" anchorCtr="0" compatLnSpc="1">
            <a:prstTxWarp prst="textNoShape">
              <a:avLst/>
            </a:prstTxWarp>
          </a:bodyPr>
          <a:lstStyle/>
          <a:p>
            <a:pPr defTabSz="685617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3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3"/>
          <p:cNvSpPr txBox="1">
            <a:spLocks/>
          </p:cNvSpPr>
          <p:nvPr/>
        </p:nvSpPr>
        <p:spPr>
          <a:xfrm>
            <a:off x="292675" y="623961"/>
            <a:ext cx="8686800" cy="5296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应用提升城市感知 </a:t>
            </a:r>
          </a:p>
        </p:txBody>
      </p:sp>
      <p:pic>
        <p:nvPicPr>
          <p:cNvPr id="43" name="Picture 2" descr="http://www.nycedc.com/sites/default/files/filemanager/Programs/NYC_Broadband_Connectivity/city-and-wires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25" y="1261859"/>
            <a:ext cx="1680028" cy="95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椭圆 60"/>
          <p:cNvSpPr>
            <a:spLocks noChangeAspect="1"/>
          </p:cNvSpPr>
          <p:nvPr/>
        </p:nvSpPr>
        <p:spPr bwMode="auto">
          <a:xfrm>
            <a:off x="2985433" y="1200063"/>
            <a:ext cx="1080000" cy="108000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6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45" name="椭圆 62"/>
          <p:cNvSpPr>
            <a:spLocks noChangeAspect="1"/>
          </p:cNvSpPr>
          <p:nvPr/>
        </p:nvSpPr>
        <p:spPr bwMode="auto">
          <a:xfrm>
            <a:off x="4488413" y="1200063"/>
            <a:ext cx="1080000" cy="108000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6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46" name="椭圆 63"/>
          <p:cNvSpPr>
            <a:spLocks noChangeAspect="1"/>
          </p:cNvSpPr>
          <p:nvPr/>
        </p:nvSpPr>
        <p:spPr bwMode="auto">
          <a:xfrm>
            <a:off x="5991393" y="1200063"/>
            <a:ext cx="1080000" cy="108000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6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47" name="椭圆 64"/>
          <p:cNvSpPr>
            <a:spLocks noChangeAspect="1"/>
          </p:cNvSpPr>
          <p:nvPr/>
        </p:nvSpPr>
        <p:spPr bwMode="auto">
          <a:xfrm>
            <a:off x="7494371" y="1200063"/>
            <a:ext cx="1080000" cy="1080000"/>
          </a:xfrm>
          <a:prstGeom prst="ellipse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6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04" y="2835374"/>
            <a:ext cx="884029" cy="66123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660" y="2835374"/>
            <a:ext cx="881327" cy="66240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457" y="2835374"/>
            <a:ext cx="763144" cy="66225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6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925" y="2835374"/>
            <a:ext cx="980525" cy="662400"/>
          </a:xfrm>
          <a:prstGeom prst="roundRect">
            <a:avLst/>
          </a:prstGeom>
          <a:noFill/>
        </p:spPr>
      </p:pic>
      <p:pic>
        <p:nvPicPr>
          <p:cNvPr id="52" name="Picture 10" descr="Image result for Flower season yanbu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3852" y="2835374"/>
            <a:ext cx="1164505" cy="662400"/>
          </a:xfrm>
          <a:prstGeom prst="roundRect">
            <a:avLst/>
          </a:prstGeom>
          <a:noFill/>
        </p:spPr>
      </p:pic>
      <p:pic>
        <p:nvPicPr>
          <p:cNvPr id="53" name="图片 1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557" y="2853131"/>
            <a:ext cx="853664" cy="64971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图片 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342" y="2838730"/>
            <a:ext cx="933459" cy="65787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图片 2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0007" y="2852356"/>
            <a:ext cx="955779" cy="655560"/>
          </a:xfrm>
          <a:prstGeom prst="roundRect">
            <a:avLst>
              <a:gd name="adj" fmla="val 16667"/>
            </a:avLst>
          </a:prstGeom>
          <a:noFill/>
        </p:spPr>
      </p:pic>
    </p:spTree>
    <p:extLst>
      <p:ext uri="{BB962C8B-B14F-4D97-AF65-F5344CB8AC3E}">
        <p14:creationId xmlns:p14="http://schemas.microsoft.com/office/powerpoint/2010/main" val="3083712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4518008" y="7608"/>
            <a:ext cx="4620223" cy="5135892"/>
          </a:xfrm>
          <a:custGeom>
            <a:avLst/>
            <a:gdLst/>
            <a:ahLst/>
            <a:cxnLst/>
            <a:rect l="l" t="t" r="r" b="b"/>
            <a:pathLst>
              <a:path w="4572000" h="4855845">
                <a:moveTo>
                  <a:pt x="0" y="4855463"/>
                </a:moveTo>
                <a:lnTo>
                  <a:pt x="4571999" y="4855463"/>
                </a:lnTo>
                <a:lnTo>
                  <a:pt x="4571999" y="0"/>
                </a:lnTo>
                <a:lnTo>
                  <a:pt x="0" y="0"/>
                </a:lnTo>
                <a:lnTo>
                  <a:pt x="0" y="4855463"/>
                </a:lnTo>
                <a:close/>
              </a:path>
            </a:pathLst>
          </a:custGeom>
          <a:solidFill>
            <a:srgbClr val="00AFEF"/>
          </a:solidFill>
        </p:spPr>
        <p:txBody>
          <a:bodyPr wrap="square" lIns="0" tIns="0" rIns="0" bIns="0" rtlCol="0"/>
          <a:lstStyle/>
          <a:p>
            <a:endParaRPr sz="2397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71" y="75"/>
            <a:ext cx="4507024" cy="5143425"/>
          </a:xfrm>
          <a:custGeom>
            <a:avLst/>
            <a:gdLst/>
            <a:ahLst/>
            <a:cxnLst/>
            <a:rect l="l" t="t" r="r" b="b"/>
            <a:pathLst>
              <a:path w="4572000" h="4876800">
                <a:moveTo>
                  <a:pt x="0" y="4876800"/>
                </a:moveTo>
                <a:lnTo>
                  <a:pt x="4572000" y="4876800"/>
                </a:lnTo>
                <a:lnTo>
                  <a:pt x="4572000" y="0"/>
                </a:lnTo>
                <a:lnTo>
                  <a:pt x="0" y="0"/>
                </a:lnTo>
                <a:lnTo>
                  <a:pt x="0" y="487680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 sz="2397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048000" y="2343150"/>
            <a:ext cx="4191000" cy="750831"/>
          </a:xfrm>
          <a:prstGeom prst="rect">
            <a:avLst/>
          </a:prstGeom>
        </p:spPr>
        <p:txBody>
          <a:bodyPr vert="horz" wrap="square" lIns="0" tIns="12050" rIns="0" bIns="0" rtlCol="0" anchor="ctr">
            <a:spAutoFit/>
          </a:bodyPr>
          <a:lstStyle/>
          <a:p>
            <a:pPr marL="12684">
              <a:spcBef>
                <a:spcPts val="95"/>
              </a:spcBef>
            </a:pPr>
            <a:r>
              <a:rPr lang="zh-CN" sz="4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挑战=机会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004777" y="710075"/>
            <a:ext cx="5021250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399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人才培养</a:t>
            </a:r>
          </a:p>
        </p:txBody>
      </p:sp>
    </p:spTree>
    <p:extLst>
      <p:ext uri="{BB962C8B-B14F-4D97-AF65-F5344CB8AC3E}">
        <p14:creationId xmlns:p14="http://schemas.microsoft.com/office/powerpoint/2010/main" val="222054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副标题 1"/>
          <p:cNvSpPr txBox="1">
            <a:spLocks/>
          </p:cNvSpPr>
          <p:nvPr/>
        </p:nvSpPr>
        <p:spPr>
          <a:xfrm>
            <a:off x="314412" y="715995"/>
            <a:ext cx="7419025" cy="67297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64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b="1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华为的解决方案：构建健康的人才生态系统振兴</a:t>
            </a:r>
            <a:r>
              <a:rPr lang="en-US" altLang="zh-CN" sz="1800" b="1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CT</a:t>
            </a:r>
            <a:r>
              <a:rPr lang="zh-CN" altLang="en-US" sz="1800" b="1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业</a:t>
            </a:r>
          </a:p>
        </p:txBody>
      </p:sp>
      <p:sp>
        <p:nvSpPr>
          <p:cNvPr id="117" name="椭圆 116"/>
          <p:cNvSpPr/>
          <p:nvPr/>
        </p:nvSpPr>
        <p:spPr>
          <a:xfrm>
            <a:off x="2349081" y="4221595"/>
            <a:ext cx="584459" cy="584459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700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118" name="Freeform 20"/>
          <p:cNvSpPr>
            <a:spLocks noChangeAspect="1" noEditPoints="1"/>
          </p:cNvSpPr>
          <p:nvPr/>
        </p:nvSpPr>
        <p:spPr bwMode="auto">
          <a:xfrm>
            <a:off x="2442593" y="4341850"/>
            <a:ext cx="397436" cy="311683"/>
          </a:xfrm>
          <a:custGeom>
            <a:avLst/>
            <a:gdLst/>
            <a:ahLst/>
            <a:cxnLst>
              <a:cxn ang="0">
                <a:pos x="11413" y="88"/>
              </a:cxn>
              <a:cxn ang="0">
                <a:pos x="993" y="8332"/>
              </a:cxn>
              <a:cxn ang="0">
                <a:pos x="8602" y="9165"/>
              </a:cxn>
              <a:cxn ang="0">
                <a:pos x="10646" y="27"/>
              </a:cxn>
              <a:cxn ang="0">
                <a:pos x="10413" y="116"/>
              </a:cxn>
              <a:cxn ang="0">
                <a:pos x="10252" y="365"/>
              </a:cxn>
              <a:cxn ang="0">
                <a:pos x="10136" y="500"/>
              </a:cxn>
              <a:cxn ang="0">
                <a:pos x="9995" y="573"/>
              </a:cxn>
              <a:cxn ang="0">
                <a:pos x="9731" y="559"/>
              </a:cxn>
              <a:cxn ang="0">
                <a:pos x="9690" y="1606"/>
              </a:cxn>
              <a:cxn ang="0">
                <a:pos x="9930" y="1555"/>
              </a:cxn>
              <a:cxn ang="0">
                <a:pos x="10152" y="1451"/>
              </a:cxn>
              <a:cxn ang="0">
                <a:pos x="10441" y="1214"/>
              </a:cxn>
              <a:cxn ang="0">
                <a:pos x="10675" y="1062"/>
              </a:cxn>
              <a:cxn ang="0">
                <a:pos x="10819" y="1027"/>
              </a:cxn>
              <a:cxn ang="0">
                <a:pos x="10955" y="1020"/>
              </a:cxn>
              <a:cxn ang="0">
                <a:pos x="10965" y="979"/>
              </a:cxn>
              <a:cxn ang="0">
                <a:pos x="9471" y="6250"/>
              </a:cxn>
              <a:cxn ang="0">
                <a:pos x="9709" y="6401"/>
              </a:cxn>
              <a:cxn ang="0">
                <a:pos x="9860" y="6638"/>
              </a:cxn>
              <a:cxn ang="0">
                <a:pos x="9896" y="6927"/>
              </a:cxn>
              <a:cxn ang="0">
                <a:pos x="9805" y="7197"/>
              </a:cxn>
              <a:cxn ang="0">
                <a:pos x="9612" y="7399"/>
              </a:cxn>
              <a:cxn ang="0">
                <a:pos x="9347" y="7503"/>
              </a:cxn>
              <a:cxn ang="0">
                <a:pos x="9056" y="7481"/>
              </a:cxn>
              <a:cxn ang="0">
                <a:pos x="8811" y="7341"/>
              </a:cxn>
              <a:cxn ang="0">
                <a:pos x="8649" y="7113"/>
              </a:cxn>
              <a:cxn ang="0">
                <a:pos x="8599" y="6827"/>
              </a:cxn>
              <a:cxn ang="0">
                <a:pos x="8677" y="6551"/>
              </a:cxn>
              <a:cxn ang="0">
                <a:pos x="8859" y="6339"/>
              </a:cxn>
              <a:cxn ang="0">
                <a:pos x="9118" y="6223"/>
              </a:cxn>
              <a:cxn ang="0">
                <a:pos x="11435" y="6223"/>
              </a:cxn>
              <a:cxn ang="0">
                <a:pos x="11693" y="6339"/>
              </a:cxn>
              <a:cxn ang="0">
                <a:pos x="11876" y="6551"/>
              </a:cxn>
              <a:cxn ang="0">
                <a:pos x="11954" y="6827"/>
              </a:cxn>
              <a:cxn ang="0">
                <a:pos x="11903" y="7113"/>
              </a:cxn>
              <a:cxn ang="0">
                <a:pos x="11741" y="7341"/>
              </a:cxn>
              <a:cxn ang="0">
                <a:pos x="11497" y="7481"/>
              </a:cxn>
              <a:cxn ang="0">
                <a:pos x="11205" y="7503"/>
              </a:cxn>
              <a:cxn ang="0">
                <a:pos x="10940" y="7399"/>
              </a:cxn>
              <a:cxn ang="0">
                <a:pos x="10748" y="7197"/>
              </a:cxn>
              <a:cxn ang="0">
                <a:pos x="10657" y="6927"/>
              </a:cxn>
              <a:cxn ang="0">
                <a:pos x="10693" y="6638"/>
              </a:cxn>
              <a:cxn ang="0">
                <a:pos x="10844" y="6401"/>
              </a:cxn>
              <a:cxn ang="0">
                <a:pos x="11080" y="6250"/>
              </a:cxn>
              <a:cxn ang="0">
                <a:pos x="13393" y="6211"/>
              </a:cxn>
              <a:cxn ang="0">
                <a:pos x="13668" y="6289"/>
              </a:cxn>
              <a:cxn ang="0">
                <a:pos x="13880" y="6472"/>
              </a:cxn>
              <a:cxn ang="0">
                <a:pos x="13997" y="6730"/>
              </a:cxn>
              <a:cxn ang="0">
                <a:pos x="13989" y="7023"/>
              </a:cxn>
              <a:cxn ang="0">
                <a:pos x="13861" y="7273"/>
              </a:cxn>
              <a:cxn ang="0">
                <a:pos x="13640" y="7446"/>
              </a:cxn>
              <a:cxn ang="0">
                <a:pos x="13359" y="7510"/>
              </a:cxn>
              <a:cxn ang="0">
                <a:pos x="13077" y="7446"/>
              </a:cxn>
              <a:cxn ang="0">
                <a:pos x="12857" y="7273"/>
              </a:cxn>
              <a:cxn ang="0">
                <a:pos x="12729" y="7023"/>
              </a:cxn>
              <a:cxn ang="0">
                <a:pos x="12722" y="6730"/>
              </a:cxn>
              <a:cxn ang="0">
                <a:pos x="12838" y="6472"/>
              </a:cxn>
              <a:cxn ang="0">
                <a:pos x="13049" y="6289"/>
              </a:cxn>
              <a:cxn ang="0">
                <a:pos x="13326" y="6211"/>
              </a:cxn>
              <a:cxn ang="0">
                <a:pos x="7428" y="10452"/>
              </a:cxn>
              <a:cxn ang="0">
                <a:pos x="3249" y="8913"/>
              </a:cxn>
              <a:cxn ang="0">
                <a:pos x="7553" y="13360"/>
              </a:cxn>
            </a:cxnLst>
            <a:rect l="0" t="0" r="r" b="b"/>
            <a:pathLst>
              <a:path w="16031" h="14421">
                <a:moveTo>
                  <a:pt x="0" y="7305"/>
                </a:moveTo>
                <a:lnTo>
                  <a:pt x="7947" y="7305"/>
                </a:lnTo>
                <a:lnTo>
                  <a:pt x="7947" y="5432"/>
                </a:lnTo>
                <a:lnTo>
                  <a:pt x="6917" y="5432"/>
                </a:lnTo>
                <a:lnTo>
                  <a:pt x="9111" y="3974"/>
                </a:lnTo>
                <a:lnTo>
                  <a:pt x="11190" y="2591"/>
                </a:lnTo>
                <a:lnTo>
                  <a:pt x="11171" y="2591"/>
                </a:lnTo>
                <a:lnTo>
                  <a:pt x="11171" y="88"/>
                </a:lnTo>
                <a:lnTo>
                  <a:pt x="11413" y="88"/>
                </a:lnTo>
                <a:lnTo>
                  <a:pt x="11413" y="2588"/>
                </a:lnTo>
                <a:lnTo>
                  <a:pt x="13497" y="3974"/>
                </a:lnTo>
                <a:lnTo>
                  <a:pt x="15691" y="5432"/>
                </a:lnTo>
                <a:lnTo>
                  <a:pt x="14660" y="5432"/>
                </a:lnTo>
                <a:lnTo>
                  <a:pt x="14660" y="8332"/>
                </a:lnTo>
                <a:lnTo>
                  <a:pt x="14660" y="9578"/>
                </a:lnTo>
                <a:lnTo>
                  <a:pt x="14660" y="13052"/>
                </a:lnTo>
                <a:lnTo>
                  <a:pt x="993" y="13052"/>
                </a:lnTo>
                <a:lnTo>
                  <a:pt x="993" y="8332"/>
                </a:lnTo>
                <a:lnTo>
                  <a:pt x="7947" y="8332"/>
                </a:lnTo>
                <a:lnTo>
                  <a:pt x="7947" y="7784"/>
                </a:lnTo>
                <a:lnTo>
                  <a:pt x="0" y="7784"/>
                </a:lnTo>
                <a:lnTo>
                  <a:pt x="0" y="7305"/>
                </a:lnTo>
                <a:close/>
                <a:moveTo>
                  <a:pt x="8602" y="9165"/>
                </a:moveTo>
                <a:lnTo>
                  <a:pt x="14112" y="9165"/>
                </a:lnTo>
                <a:lnTo>
                  <a:pt x="14112" y="9409"/>
                </a:lnTo>
                <a:lnTo>
                  <a:pt x="8602" y="9409"/>
                </a:lnTo>
                <a:lnTo>
                  <a:pt x="8602" y="9165"/>
                </a:lnTo>
                <a:close/>
                <a:moveTo>
                  <a:pt x="10991" y="1"/>
                </a:moveTo>
                <a:lnTo>
                  <a:pt x="10967" y="0"/>
                </a:lnTo>
                <a:lnTo>
                  <a:pt x="10903" y="1"/>
                </a:lnTo>
                <a:lnTo>
                  <a:pt x="10860" y="2"/>
                </a:lnTo>
                <a:lnTo>
                  <a:pt x="10811" y="5"/>
                </a:lnTo>
                <a:lnTo>
                  <a:pt x="10758" y="10"/>
                </a:lnTo>
                <a:lnTo>
                  <a:pt x="10703" y="17"/>
                </a:lnTo>
                <a:lnTo>
                  <a:pt x="10674" y="22"/>
                </a:lnTo>
                <a:lnTo>
                  <a:pt x="10646" y="27"/>
                </a:lnTo>
                <a:lnTo>
                  <a:pt x="10617" y="33"/>
                </a:lnTo>
                <a:lnTo>
                  <a:pt x="10588" y="40"/>
                </a:lnTo>
                <a:lnTo>
                  <a:pt x="10560" y="48"/>
                </a:lnTo>
                <a:lnTo>
                  <a:pt x="10533" y="56"/>
                </a:lnTo>
                <a:lnTo>
                  <a:pt x="10507" y="66"/>
                </a:lnTo>
                <a:lnTo>
                  <a:pt x="10482" y="77"/>
                </a:lnTo>
                <a:lnTo>
                  <a:pt x="10457" y="89"/>
                </a:lnTo>
                <a:lnTo>
                  <a:pt x="10435" y="102"/>
                </a:lnTo>
                <a:lnTo>
                  <a:pt x="10413" y="116"/>
                </a:lnTo>
                <a:lnTo>
                  <a:pt x="10394" y="131"/>
                </a:lnTo>
                <a:lnTo>
                  <a:pt x="10376" y="148"/>
                </a:lnTo>
                <a:lnTo>
                  <a:pt x="10360" y="166"/>
                </a:lnTo>
                <a:lnTo>
                  <a:pt x="10347" y="185"/>
                </a:lnTo>
                <a:lnTo>
                  <a:pt x="10336" y="206"/>
                </a:lnTo>
                <a:lnTo>
                  <a:pt x="10316" y="249"/>
                </a:lnTo>
                <a:lnTo>
                  <a:pt x="10296" y="289"/>
                </a:lnTo>
                <a:lnTo>
                  <a:pt x="10274" y="328"/>
                </a:lnTo>
                <a:lnTo>
                  <a:pt x="10252" y="365"/>
                </a:lnTo>
                <a:lnTo>
                  <a:pt x="10240" y="383"/>
                </a:lnTo>
                <a:lnTo>
                  <a:pt x="10228" y="400"/>
                </a:lnTo>
                <a:lnTo>
                  <a:pt x="10216" y="416"/>
                </a:lnTo>
                <a:lnTo>
                  <a:pt x="10203" y="432"/>
                </a:lnTo>
                <a:lnTo>
                  <a:pt x="10190" y="447"/>
                </a:lnTo>
                <a:lnTo>
                  <a:pt x="10177" y="462"/>
                </a:lnTo>
                <a:lnTo>
                  <a:pt x="10164" y="475"/>
                </a:lnTo>
                <a:lnTo>
                  <a:pt x="10150" y="488"/>
                </a:lnTo>
                <a:lnTo>
                  <a:pt x="10136" y="500"/>
                </a:lnTo>
                <a:lnTo>
                  <a:pt x="10122" y="512"/>
                </a:lnTo>
                <a:lnTo>
                  <a:pt x="10107" y="523"/>
                </a:lnTo>
                <a:lnTo>
                  <a:pt x="10092" y="532"/>
                </a:lnTo>
                <a:lnTo>
                  <a:pt x="10076" y="542"/>
                </a:lnTo>
                <a:lnTo>
                  <a:pt x="10060" y="550"/>
                </a:lnTo>
                <a:lnTo>
                  <a:pt x="10045" y="557"/>
                </a:lnTo>
                <a:lnTo>
                  <a:pt x="10029" y="563"/>
                </a:lnTo>
                <a:lnTo>
                  <a:pt x="10012" y="569"/>
                </a:lnTo>
                <a:lnTo>
                  <a:pt x="9995" y="573"/>
                </a:lnTo>
                <a:lnTo>
                  <a:pt x="9978" y="576"/>
                </a:lnTo>
                <a:lnTo>
                  <a:pt x="9960" y="579"/>
                </a:lnTo>
                <a:lnTo>
                  <a:pt x="9942" y="580"/>
                </a:lnTo>
                <a:lnTo>
                  <a:pt x="9924" y="580"/>
                </a:lnTo>
                <a:lnTo>
                  <a:pt x="9905" y="580"/>
                </a:lnTo>
                <a:lnTo>
                  <a:pt x="9886" y="578"/>
                </a:lnTo>
                <a:lnTo>
                  <a:pt x="9819" y="570"/>
                </a:lnTo>
                <a:lnTo>
                  <a:pt x="9768" y="563"/>
                </a:lnTo>
                <a:lnTo>
                  <a:pt x="9731" y="559"/>
                </a:lnTo>
                <a:lnTo>
                  <a:pt x="9707" y="555"/>
                </a:lnTo>
                <a:lnTo>
                  <a:pt x="9692" y="554"/>
                </a:lnTo>
                <a:lnTo>
                  <a:pt x="9685" y="553"/>
                </a:lnTo>
                <a:lnTo>
                  <a:pt x="9682" y="552"/>
                </a:lnTo>
                <a:lnTo>
                  <a:pt x="9681" y="552"/>
                </a:lnTo>
                <a:lnTo>
                  <a:pt x="9681" y="1604"/>
                </a:lnTo>
                <a:lnTo>
                  <a:pt x="9682" y="1605"/>
                </a:lnTo>
                <a:lnTo>
                  <a:pt x="9685" y="1606"/>
                </a:lnTo>
                <a:lnTo>
                  <a:pt x="9690" y="1606"/>
                </a:lnTo>
                <a:lnTo>
                  <a:pt x="9697" y="1606"/>
                </a:lnTo>
                <a:lnTo>
                  <a:pt x="9715" y="1605"/>
                </a:lnTo>
                <a:lnTo>
                  <a:pt x="9739" y="1602"/>
                </a:lnTo>
                <a:lnTo>
                  <a:pt x="9769" y="1597"/>
                </a:lnTo>
                <a:lnTo>
                  <a:pt x="9804" y="1590"/>
                </a:lnTo>
                <a:lnTo>
                  <a:pt x="9842" y="1581"/>
                </a:lnTo>
                <a:lnTo>
                  <a:pt x="9885" y="1569"/>
                </a:lnTo>
                <a:lnTo>
                  <a:pt x="9907" y="1562"/>
                </a:lnTo>
                <a:lnTo>
                  <a:pt x="9930" y="1555"/>
                </a:lnTo>
                <a:lnTo>
                  <a:pt x="9953" y="1547"/>
                </a:lnTo>
                <a:lnTo>
                  <a:pt x="9977" y="1537"/>
                </a:lnTo>
                <a:lnTo>
                  <a:pt x="10002" y="1528"/>
                </a:lnTo>
                <a:lnTo>
                  <a:pt x="10026" y="1517"/>
                </a:lnTo>
                <a:lnTo>
                  <a:pt x="10051" y="1506"/>
                </a:lnTo>
                <a:lnTo>
                  <a:pt x="10076" y="1493"/>
                </a:lnTo>
                <a:lnTo>
                  <a:pt x="10102" y="1480"/>
                </a:lnTo>
                <a:lnTo>
                  <a:pt x="10127" y="1466"/>
                </a:lnTo>
                <a:lnTo>
                  <a:pt x="10152" y="1451"/>
                </a:lnTo>
                <a:lnTo>
                  <a:pt x="10177" y="1435"/>
                </a:lnTo>
                <a:lnTo>
                  <a:pt x="10201" y="1418"/>
                </a:lnTo>
                <a:lnTo>
                  <a:pt x="10225" y="1400"/>
                </a:lnTo>
                <a:lnTo>
                  <a:pt x="10249" y="1381"/>
                </a:lnTo>
                <a:lnTo>
                  <a:pt x="10272" y="1361"/>
                </a:lnTo>
                <a:lnTo>
                  <a:pt x="10317" y="1321"/>
                </a:lnTo>
                <a:lnTo>
                  <a:pt x="10360" y="1283"/>
                </a:lnTo>
                <a:lnTo>
                  <a:pt x="10401" y="1247"/>
                </a:lnTo>
                <a:lnTo>
                  <a:pt x="10441" y="1214"/>
                </a:lnTo>
                <a:lnTo>
                  <a:pt x="10480" y="1183"/>
                </a:lnTo>
                <a:lnTo>
                  <a:pt x="10517" y="1155"/>
                </a:lnTo>
                <a:lnTo>
                  <a:pt x="10554" y="1130"/>
                </a:lnTo>
                <a:lnTo>
                  <a:pt x="10589" y="1107"/>
                </a:lnTo>
                <a:lnTo>
                  <a:pt x="10607" y="1097"/>
                </a:lnTo>
                <a:lnTo>
                  <a:pt x="10624" y="1087"/>
                </a:lnTo>
                <a:lnTo>
                  <a:pt x="10641" y="1078"/>
                </a:lnTo>
                <a:lnTo>
                  <a:pt x="10658" y="1069"/>
                </a:lnTo>
                <a:lnTo>
                  <a:pt x="10675" y="1062"/>
                </a:lnTo>
                <a:lnTo>
                  <a:pt x="10691" y="1055"/>
                </a:lnTo>
                <a:lnTo>
                  <a:pt x="10707" y="1049"/>
                </a:lnTo>
                <a:lnTo>
                  <a:pt x="10724" y="1043"/>
                </a:lnTo>
                <a:lnTo>
                  <a:pt x="10740" y="1039"/>
                </a:lnTo>
                <a:lnTo>
                  <a:pt x="10756" y="1035"/>
                </a:lnTo>
                <a:lnTo>
                  <a:pt x="10771" y="1032"/>
                </a:lnTo>
                <a:lnTo>
                  <a:pt x="10787" y="1029"/>
                </a:lnTo>
                <a:lnTo>
                  <a:pt x="10803" y="1028"/>
                </a:lnTo>
                <a:lnTo>
                  <a:pt x="10819" y="1027"/>
                </a:lnTo>
                <a:lnTo>
                  <a:pt x="10834" y="1027"/>
                </a:lnTo>
                <a:lnTo>
                  <a:pt x="10850" y="1027"/>
                </a:lnTo>
                <a:lnTo>
                  <a:pt x="10879" y="1029"/>
                </a:lnTo>
                <a:lnTo>
                  <a:pt x="10903" y="1029"/>
                </a:lnTo>
                <a:lnTo>
                  <a:pt x="10922" y="1028"/>
                </a:lnTo>
                <a:lnTo>
                  <a:pt x="10938" y="1026"/>
                </a:lnTo>
                <a:lnTo>
                  <a:pt x="10945" y="1024"/>
                </a:lnTo>
                <a:lnTo>
                  <a:pt x="10951" y="1022"/>
                </a:lnTo>
                <a:lnTo>
                  <a:pt x="10955" y="1020"/>
                </a:lnTo>
                <a:lnTo>
                  <a:pt x="10960" y="1018"/>
                </a:lnTo>
                <a:lnTo>
                  <a:pt x="10966" y="1013"/>
                </a:lnTo>
                <a:lnTo>
                  <a:pt x="10970" y="1008"/>
                </a:lnTo>
                <a:lnTo>
                  <a:pt x="10972" y="1003"/>
                </a:lnTo>
                <a:lnTo>
                  <a:pt x="10973" y="998"/>
                </a:lnTo>
                <a:lnTo>
                  <a:pt x="10972" y="993"/>
                </a:lnTo>
                <a:lnTo>
                  <a:pt x="10971" y="989"/>
                </a:lnTo>
                <a:lnTo>
                  <a:pt x="10967" y="982"/>
                </a:lnTo>
                <a:lnTo>
                  <a:pt x="10965" y="979"/>
                </a:lnTo>
                <a:lnTo>
                  <a:pt x="10991" y="1"/>
                </a:lnTo>
                <a:close/>
                <a:moveTo>
                  <a:pt x="9249" y="6210"/>
                </a:moveTo>
                <a:lnTo>
                  <a:pt x="9282" y="6211"/>
                </a:lnTo>
                <a:lnTo>
                  <a:pt x="9315" y="6213"/>
                </a:lnTo>
                <a:lnTo>
                  <a:pt x="9347" y="6218"/>
                </a:lnTo>
                <a:lnTo>
                  <a:pt x="9379" y="6223"/>
                </a:lnTo>
                <a:lnTo>
                  <a:pt x="9410" y="6231"/>
                </a:lnTo>
                <a:lnTo>
                  <a:pt x="9441" y="6239"/>
                </a:lnTo>
                <a:lnTo>
                  <a:pt x="9471" y="6250"/>
                </a:lnTo>
                <a:lnTo>
                  <a:pt x="9501" y="6261"/>
                </a:lnTo>
                <a:lnTo>
                  <a:pt x="9530" y="6274"/>
                </a:lnTo>
                <a:lnTo>
                  <a:pt x="9558" y="6289"/>
                </a:lnTo>
                <a:lnTo>
                  <a:pt x="9586" y="6305"/>
                </a:lnTo>
                <a:lnTo>
                  <a:pt x="9612" y="6321"/>
                </a:lnTo>
                <a:lnTo>
                  <a:pt x="9638" y="6339"/>
                </a:lnTo>
                <a:lnTo>
                  <a:pt x="9662" y="6359"/>
                </a:lnTo>
                <a:lnTo>
                  <a:pt x="9686" y="6379"/>
                </a:lnTo>
                <a:lnTo>
                  <a:pt x="9709" y="6401"/>
                </a:lnTo>
                <a:lnTo>
                  <a:pt x="9730" y="6423"/>
                </a:lnTo>
                <a:lnTo>
                  <a:pt x="9750" y="6447"/>
                </a:lnTo>
                <a:lnTo>
                  <a:pt x="9770" y="6472"/>
                </a:lnTo>
                <a:lnTo>
                  <a:pt x="9788" y="6498"/>
                </a:lnTo>
                <a:lnTo>
                  <a:pt x="9805" y="6524"/>
                </a:lnTo>
                <a:lnTo>
                  <a:pt x="9820" y="6551"/>
                </a:lnTo>
                <a:lnTo>
                  <a:pt x="9835" y="6579"/>
                </a:lnTo>
                <a:lnTo>
                  <a:pt x="9848" y="6608"/>
                </a:lnTo>
                <a:lnTo>
                  <a:pt x="9860" y="6638"/>
                </a:lnTo>
                <a:lnTo>
                  <a:pt x="9870" y="6668"/>
                </a:lnTo>
                <a:lnTo>
                  <a:pt x="9879" y="6699"/>
                </a:lnTo>
                <a:lnTo>
                  <a:pt x="9886" y="6730"/>
                </a:lnTo>
                <a:lnTo>
                  <a:pt x="9892" y="6762"/>
                </a:lnTo>
                <a:lnTo>
                  <a:pt x="9896" y="6794"/>
                </a:lnTo>
                <a:lnTo>
                  <a:pt x="9898" y="6827"/>
                </a:lnTo>
                <a:lnTo>
                  <a:pt x="9899" y="6860"/>
                </a:lnTo>
                <a:lnTo>
                  <a:pt x="9898" y="6894"/>
                </a:lnTo>
                <a:lnTo>
                  <a:pt x="9896" y="6927"/>
                </a:lnTo>
                <a:lnTo>
                  <a:pt x="9892" y="6959"/>
                </a:lnTo>
                <a:lnTo>
                  <a:pt x="9886" y="6991"/>
                </a:lnTo>
                <a:lnTo>
                  <a:pt x="9879" y="7023"/>
                </a:lnTo>
                <a:lnTo>
                  <a:pt x="9870" y="7053"/>
                </a:lnTo>
                <a:lnTo>
                  <a:pt x="9860" y="7084"/>
                </a:lnTo>
                <a:lnTo>
                  <a:pt x="9848" y="7113"/>
                </a:lnTo>
                <a:lnTo>
                  <a:pt x="9835" y="7142"/>
                </a:lnTo>
                <a:lnTo>
                  <a:pt x="9820" y="7170"/>
                </a:lnTo>
                <a:lnTo>
                  <a:pt x="9805" y="7197"/>
                </a:lnTo>
                <a:lnTo>
                  <a:pt x="9788" y="7223"/>
                </a:lnTo>
                <a:lnTo>
                  <a:pt x="9770" y="7249"/>
                </a:lnTo>
                <a:lnTo>
                  <a:pt x="9750" y="7273"/>
                </a:lnTo>
                <a:lnTo>
                  <a:pt x="9730" y="7297"/>
                </a:lnTo>
                <a:lnTo>
                  <a:pt x="9709" y="7319"/>
                </a:lnTo>
                <a:lnTo>
                  <a:pt x="9686" y="7341"/>
                </a:lnTo>
                <a:lnTo>
                  <a:pt x="9662" y="7362"/>
                </a:lnTo>
                <a:lnTo>
                  <a:pt x="9638" y="7381"/>
                </a:lnTo>
                <a:lnTo>
                  <a:pt x="9612" y="7399"/>
                </a:lnTo>
                <a:lnTo>
                  <a:pt x="9586" y="7416"/>
                </a:lnTo>
                <a:lnTo>
                  <a:pt x="9558" y="7432"/>
                </a:lnTo>
                <a:lnTo>
                  <a:pt x="9530" y="7446"/>
                </a:lnTo>
                <a:lnTo>
                  <a:pt x="9501" y="7459"/>
                </a:lnTo>
                <a:lnTo>
                  <a:pt x="9471" y="7471"/>
                </a:lnTo>
                <a:lnTo>
                  <a:pt x="9441" y="7481"/>
                </a:lnTo>
                <a:lnTo>
                  <a:pt x="9410" y="7490"/>
                </a:lnTo>
                <a:lnTo>
                  <a:pt x="9379" y="7497"/>
                </a:lnTo>
                <a:lnTo>
                  <a:pt x="9347" y="7503"/>
                </a:lnTo>
                <a:lnTo>
                  <a:pt x="9315" y="7507"/>
                </a:lnTo>
                <a:lnTo>
                  <a:pt x="9282" y="7509"/>
                </a:lnTo>
                <a:lnTo>
                  <a:pt x="9249" y="7510"/>
                </a:lnTo>
                <a:lnTo>
                  <a:pt x="9215" y="7509"/>
                </a:lnTo>
                <a:lnTo>
                  <a:pt x="9182" y="7507"/>
                </a:lnTo>
                <a:lnTo>
                  <a:pt x="9150" y="7503"/>
                </a:lnTo>
                <a:lnTo>
                  <a:pt x="9118" y="7497"/>
                </a:lnTo>
                <a:lnTo>
                  <a:pt x="9087" y="7490"/>
                </a:lnTo>
                <a:lnTo>
                  <a:pt x="9056" y="7481"/>
                </a:lnTo>
                <a:lnTo>
                  <a:pt x="9025" y="7471"/>
                </a:lnTo>
                <a:lnTo>
                  <a:pt x="8995" y="7459"/>
                </a:lnTo>
                <a:lnTo>
                  <a:pt x="8966" y="7446"/>
                </a:lnTo>
                <a:lnTo>
                  <a:pt x="8938" y="7432"/>
                </a:lnTo>
                <a:lnTo>
                  <a:pt x="8911" y="7416"/>
                </a:lnTo>
                <a:lnTo>
                  <a:pt x="8885" y="7399"/>
                </a:lnTo>
                <a:lnTo>
                  <a:pt x="8859" y="7381"/>
                </a:lnTo>
                <a:lnTo>
                  <a:pt x="8835" y="7362"/>
                </a:lnTo>
                <a:lnTo>
                  <a:pt x="8811" y="7341"/>
                </a:lnTo>
                <a:lnTo>
                  <a:pt x="8789" y="7319"/>
                </a:lnTo>
                <a:lnTo>
                  <a:pt x="8767" y="7297"/>
                </a:lnTo>
                <a:lnTo>
                  <a:pt x="8747" y="7273"/>
                </a:lnTo>
                <a:lnTo>
                  <a:pt x="8727" y="7249"/>
                </a:lnTo>
                <a:lnTo>
                  <a:pt x="8709" y="7223"/>
                </a:lnTo>
                <a:lnTo>
                  <a:pt x="8692" y="7197"/>
                </a:lnTo>
                <a:lnTo>
                  <a:pt x="8677" y="7170"/>
                </a:lnTo>
                <a:lnTo>
                  <a:pt x="8662" y="7142"/>
                </a:lnTo>
                <a:lnTo>
                  <a:pt x="8649" y="7113"/>
                </a:lnTo>
                <a:lnTo>
                  <a:pt x="8638" y="7084"/>
                </a:lnTo>
                <a:lnTo>
                  <a:pt x="8627" y="7053"/>
                </a:lnTo>
                <a:lnTo>
                  <a:pt x="8619" y="7023"/>
                </a:lnTo>
                <a:lnTo>
                  <a:pt x="8611" y="6991"/>
                </a:lnTo>
                <a:lnTo>
                  <a:pt x="8605" y="6959"/>
                </a:lnTo>
                <a:lnTo>
                  <a:pt x="8601" y="6927"/>
                </a:lnTo>
                <a:lnTo>
                  <a:pt x="8599" y="6894"/>
                </a:lnTo>
                <a:lnTo>
                  <a:pt x="8598" y="6860"/>
                </a:lnTo>
                <a:lnTo>
                  <a:pt x="8599" y="6827"/>
                </a:lnTo>
                <a:lnTo>
                  <a:pt x="8601" y="6794"/>
                </a:lnTo>
                <a:lnTo>
                  <a:pt x="8605" y="6762"/>
                </a:lnTo>
                <a:lnTo>
                  <a:pt x="8611" y="6730"/>
                </a:lnTo>
                <a:lnTo>
                  <a:pt x="8619" y="6699"/>
                </a:lnTo>
                <a:lnTo>
                  <a:pt x="8627" y="6668"/>
                </a:lnTo>
                <a:lnTo>
                  <a:pt x="8638" y="6638"/>
                </a:lnTo>
                <a:lnTo>
                  <a:pt x="8649" y="6608"/>
                </a:lnTo>
                <a:lnTo>
                  <a:pt x="8662" y="6579"/>
                </a:lnTo>
                <a:lnTo>
                  <a:pt x="8677" y="6551"/>
                </a:lnTo>
                <a:lnTo>
                  <a:pt x="8692" y="6524"/>
                </a:lnTo>
                <a:lnTo>
                  <a:pt x="8709" y="6498"/>
                </a:lnTo>
                <a:lnTo>
                  <a:pt x="8727" y="6472"/>
                </a:lnTo>
                <a:lnTo>
                  <a:pt x="8747" y="6447"/>
                </a:lnTo>
                <a:lnTo>
                  <a:pt x="8767" y="6423"/>
                </a:lnTo>
                <a:lnTo>
                  <a:pt x="8789" y="6401"/>
                </a:lnTo>
                <a:lnTo>
                  <a:pt x="8811" y="6379"/>
                </a:lnTo>
                <a:lnTo>
                  <a:pt x="8835" y="6359"/>
                </a:lnTo>
                <a:lnTo>
                  <a:pt x="8859" y="6339"/>
                </a:lnTo>
                <a:lnTo>
                  <a:pt x="8885" y="6321"/>
                </a:lnTo>
                <a:lnTo>
                  <a:pt x="8911" y="6305"/>
                </a:lnTo>
                <a:lnTo>
                  <a:pt x="8938" y="6289"/>
                </a:lnTo>
                <a:lnTo>
                  <a:pt x="8966" y="6274"/>
                </a:lnTo>
                <a:lnTo>
                  <a:pt x="8995" y="6261"/>
                </a:lnTo>
                <a:lnTo>
                  <a:pt x="9025" y="6250"/>
                </a:lnTo>
                <a:lnTo>
                  <a:pt x="9056" y="6239"/>
                </a:lnTo>
                <a:lnTo>
                  <a:pt x="9087" y="6231"/>
                </a:lnTo>
                <a:lnTo>
                  <a:pt x="9118" y="6223"/>
                </a:lnTo>
                <a:lnTo>
                  <a:pt x="9150" y="6218"/>
                </a:lnTo>
                <a:lnTo>
                  <a:pt x="9182" y="6213"/>
                </a:lnTo>
                <a:lnTo>
                  <a:pt x="9215" y="6211"/>
                </a:lnTo>
                <a:lnTo>
                  <a:pt x="9249" y="6210"/>
                </a:lnTo>
                <a:close/>
                <a:moveTo>
                  <a:pt x="11304" y="6210"/>
                </a:moveTo>
                <a:lnTo>
                  <a:pt x="11337" y="6211"/>
                </a:lnTo>
                <a:lnTo>
                  <a:pt x="11370" y="6213"/>
                </a:lnTo>
                <a:lnTo>
                  <a:pt x="11403" y="6218"/>
                </a:lnTo>
                <a:lnTo>
                  <a:pt x="11435" y="6223"/>
                </a:lnTo>
                <a:lnTo>
                  <a:pt x="11466" y="6231"/>
                </a:lnTo>
                <a:lnTo>
                  <a:pt x="11497" y="6239"/>
                </a:lnTo>
                <a:lnTo>
                  <a:pt x="11527" y="6250"/>
                </a:lnTo>
                <a:lnTo>
                  <a:pt x="11556" y="6261"/>
                </a:lnTo>
                <a:lnTo>
                  <a:pt x="11585" y="6274"/>
                </a:lnTo>
                <a:lnTo>
                  <a:pt x="11613" y="6289"/>
                </a:lnTo>
                <a:lnTo>
                  <a:pt x="11641" y="6305"/>
                </a:lnTo>
                <a:lnTo>
                  <a:pt x="11668" y="6321"/>
                </a:lnTo>
                <a:lnTo>
                  <a:pt x="11693" y="6339"/>
                </a:lnTo>
                <a:lnTo>
                  <a:pt x="11718" y="6359"/>
                </a:lnTo>
                <a:lnTo>
                  <a:pt x="11741" y="6379"/>
                </a:lnTo>
                <a:lnTo>
                  <a:pt x="11764" y="6401"/>
                </a:lnTo>
                <a:lnTo>
                  <a:pt x="11785" y="6423"/>
                </a:lnTo>
                <a:lnTo>
                  <a:pt x="11806" y="6447"/>
                </a:lnTo>
                <a:lnTo>
                  <a:pt x="11825" y="6472"/>
                </a:lnTo>
                <a:lnTo>
                  <a:pt x="11843" y="6498"/>
                </a:lnTo>
                <a:lnTo>
                  <a:pt x="11860" y="6524"/>
                </a:lnTo>
                <a:lnTo>
                  <a:pt x="11876" y="6551"/>
                </a:lnTo>
                <a:lnTo>
                  <a:pt x="11890" y="6579"/>
                </a:lnTo>
                <a:lnTo>
                  <a:pt x="11903" y="6608"/>
                </a:lnTo>
                <a:lnTo>
                  <a:pt x="11915" y="6638"/>
                </a:lnTo>
                <a:lnTo>
                  <a:pt x="11925" y="6668"/>
                </a:lnTo>
                <a:lnTo>
                  <a:pt x="11934" y="6699"/>
                </a:lnTo>
                <a:lnTo>
                  <a:pt x="11941" y="6730"/>
                </a:lnTo>
                <a:lnTo>
                  <a:pt x="11947" y="6762"/>
                </a:lnTo>
                <a:lnTo>
                  <a:pt x="11951" y="6794"/>
                </a:lnTo>
                <a:lnTo>
                  <a:pt x="11954" y="6827"/>
                </a:lnTo>
                <a:lnTo>
                  <a:pt x="11955" y="6860"/>
                </a:lnTo>
                <a:lnTo>
                  <a:pt x="11954" y="6894"/>
                </a:lnTo>
                <a:lnTo>
                  <a:pt x="11951" y="6927"/>
                </a:lnTo>
                <a:lnTo>
                  <a:pt x="11947" y="6959"/>
                </a:lnTo>
                <a:lnTo>
                  <a:pt x="11941" y="6991"/>
                </a:lnTo>
                <a:lnTo>
                  <a:pt x="11934" y="7023"/>
                </a:lnTo>
                <a:lnTo>
                  <a:pt x="11925" y="7053"/>
                </a:lnTo>
                <a:lnTo>
                  <a:pt x="11915" y="7084"/>
                </a:lnTo>
                <a:lnTo>
                  <a:pt x="11903" y="7113"/>
                </a:lnTo>
                <a:lnTo>
                  <a:pt x="11890" y="7142"/>
                </a:lnTo>
                <a:lnTo>
                  <a:pt x="11876" y="7170"/>
                </a:lnTo>
                <a:lnTo>
                  <a:pt x="11860" y="7197"/>
                </a:lnTo>
                <a:lnTo>
                  <a:pt x="11843" y="7223"/>
                </a:lnTo>
                <a:lnTo>
                  <a:pt x="11825" y="7249"/>
                </a:lnTo>
                <a:lnTo>
                  <a:pt x="11806" y="7273"/>
                </a:lnTo>
                <a:lnTo>
                  <a:pt x="11785" y="7297"/>
                </a:lnTo>
                <a:lnTo>
                  <a:pt x="11764" y="7319"/>
                </a:lnTo>
                <a:lnTo>
                  <a:pt x="11741" y="7341"/>
                </a:lnTo>
                <a:lnTo>
                  <a:pt x="11718" y="7362"/>
                </a:lnTo>
                <a:lnTo>
                  <a:pt x="11693" y="7381"/>
                </a:lnTo>
                <a:lnTo>
                  <a:pt x="11668" y="7399"/>
                </a:lnTo>
                <a:lnTo>
                  <a:pt x="11641" y="7416"/>
                </a:lnTo>
                <a:lnTo>
                  <a:pt x="11613" y="7432"/>
                </a:lnTo>
                <a:lnTo>
                  <a:pt x="11585" y="7446"/>
                </a:lnTo>
                <a:lnTo>
                  <a:pt x="11556" y="7459"/>
                </a:lnTo>
                <a:lnTo>
                  <a:pt x="11527" y="7471"/>
                </a:lnTo>
                <a:lnTo>
                  <a:pt x="11497" y="7481"/>
                </a:lnTo>
                <a:lnTo>
                  <a:pt x="11466" y="7490"/>
                </a:lnTo>
                <a:lnTo>
                  <a:pt x="11435" y="7497"/>
                </a:lnTo>
                <a:lnTo>
                  <a:pt x="11403" y="7503"/>
                </a:lnTo>
                <a:lnTo>
                  <a:pt x="11370" y="7507"/>
                </a:lnTo>
                <a:lnTo>
                  <a:pt x="11337" y="7509"/>
                </a:lnTo>
                <a:lnTo>
                  <a:pt x="11304" y="7510"/>
                </a:lnTo>
                <a:lnTo>
                  <a:pt x="11271" y="7509"/>
                </a:lnTo>
                <a:lnTo>
                  <a:pt x="11238" y="7507"/>
                </a:lnTo>
                <a:lnTo>
                  <a:pt x="11205" y="7503"/>
                </a:lnTo>
                <a:lnTo>
                  <a:pt x="11173" y="7497"/>
                </a:lnTo>
                <a:lnTo>
                  <a:pt x="11142" y="7490"/>
                </a:lnTo>
                <a:lnTo>
                  <a:pt x="11110" y="7481"/>
                </a:lnTo>
                <a:lnTo>
                  <a:pt x="11080" y="7471"/>
                </a:lnTo>
                <a:lnTo>
                  <a:pt x="11051" y="7459"/>
                </a:lnTo>
                <a:lnTo>
                  <a:pt x="11022" y="7446"/>
                </a:lnTo>
                <a:lnTo>
                  <a:pt x="10994" y="7432"/>
                </a:lnTo>
                <a:lnTo>
                  <a:pt x="10966" y="7416"/>
                </a:lnTo>
                <a:lnTo>
                  <a:pt x="10940" y="7399"/>
                </a:lnTo>
                <a:lnTo>
                  <a:pt x="10915" y="7381"/>
                </a:lnTo>
                <a:lnTo>
                  <a:pt x="10890" y="7362"/>
                </a:lnTo>
                <a:lnTo>
                  <a:pt x="10866" y="7341"/>
                </a:lnTo>
                <a:lnTo>
                  <a:pt x="10844" y="7319"/>
                </a:lnTo>
                <a:lnTo>
                  <a:pt x="10822" y="7297"/>
                </a:lnTo>
                <a:lnTo>
                  <a:pt x="10802" y="7273"/>
                </a:lnTo>
                <a:lnTo>
                  <a:pt x="10783" y="7249"/>
                </a:lnTo>
                <a:lnTo>
                  <a:pt x="10765" y="7223"/>
                </a:lnTo>
                <a:lnTo>
                  <a:pt x="10748" y="7197"/>
                </a:lnTo>
                <a:lnTo>
                  <a:pt x="10732" y="7170"/>
                </a:lnTo>
                <a:lnTo>
                  <a:pt x="10717" y="7142"/>
                </a:lnTo>
                <a:lnTo>
                  <a:pt x="10705" y="7113"/>
                </a:lnTo>
                <a:lnTo>
                  <a:pt x="10693" y="7084"/>
                </a:lnTo>
                <a:lnTo>
                  <a:pt x="10683" y="7053"/>
                </a:lnTo>
                <a:lnTo>
                  <a:pt x="10674" y="7023"/>
                </a:lnTo>
                <a:lnTo>
                  <a:pt x="10667" y="6991"/>
                </a:lnTo>
                <a:lnTo>
                  <a:pt x="10661" y="6959"/>
                </a:lnTo>
                <a:lnTo>
                  <a:pt x="10657" y="6927"/>
                </a:lnTo>
                <a:lnTo>
                  <a:pt x="10654" y="6894"/>
                </a:lnTo>
                <a:lnTo>
                  <a:pt x="10653" y="6860"/>
                </a:lnTo>
                <a:lnTo>
                  <a:pt x="10654" y="6827"/>
                </a:lnTo>
                <a:lnTo>
                  <a:pt x="10657" y="6794"/>
                </a:lnTo>
                <a:lnTo>
                  <a:pt x="10661" y="6762"/>
                </a:lnTo>
                <a:lnTo>
                  <a:pt x="10667" y="6730"/>
                </a:lnTo>
                <a:lnTo>
                  <a:pt x="10674" y="6699"/>
                </a:lnTo>
                <a:lnTo>
                  <a:pt x="10683" y="6668"/>
                </a:lnTo>
                <a:lnTo>
                  <a:pt x="10693" y="6638"/>
                </a:lnTo>
                <a:lnTo>
                  <a:pt x="10705" y="6608"/>
                </a:lnTo>
                <a:lnTo>
                  <a:pt x="10717" y="6579"/>
                </a:lnTo>
                <a:lnTo>
                  <a:pt x="10732" y="6551"/>
                </a:lnTo>
                <a:lnTo>
                  <a:pt x="10748" y="6524"/>
                </a:lnTo>
                <a:lnTo>
                  <a:pt x="10765" y="6498"/>
                </a:lnTo>
                <a:lnTo>
                  <a:pt x="10783" y="6472"/>
                </a:lnTo>
                <a:lnTo>
                  <a:pt x="10802" y="6447"/>
                </a:lnTo>
                <a:lnTo>
                  <a:pt x="10822" y="6423"/>
                </a:lnTo>
                <a:lnTo>
                  <a:pt x="10844" y="6401"/>
                </a:lnTo>
                <a:lnTo>
                  <a:pt x="10866" y="6379"/>
                </a:lnTo>
                <a:lnTo>
                  <a:pt x="10890" y="6359"/>
                </a:lnTo>
                <a:lnTo>
                  <a:pt x="10915" y="6339"/>
                </a:lnTo>
                <a:lnTo>
                  <a:pt x="10940" y="6321"/>
                </a:lnTo>
                <a:lnTo>
                  <a:pt x="10966" y="6305"/>
                </a:lnTo>
                <a:lnTo>
                  <a:pt x="10994" y="6289"/>
                </a:lnTo>
                <a:lnTo>
                  <a:pt x="11022" y="6274"/>
                </a:lnTo>
                <a:lnTo>
                  <a:pt x="11051" y="6261"/>
                </a:lnTo>
                <a:lnTo>
                  <a:pt x="11080" y="6250"/>
                </a:lnTo>
                <a:lnTo>
                  <a:pt x="11110" y="6239"/>
                </a:lnTo>
                <a:lnTo>
                  <a:pt x="11142" y="6231"/>
                </a:lnTo>
                <a:lnTo>
                  <a:pt x="11173" y="6223"/>
                </a:lnTo>
                <a:lnTo>
                  <a:pt x="11205" y="6218"/>
                </a:lnTo>
                <a:lnTo>
                  <a:pt x="11238" y="6213"/>
                </a:lnTo>
                <a:lnTo>
                  <a:pt x="11271" y="6211"/>
                </a:lnTo>
                <a:lnTo>
                  <a:pt x="11304" y="6210"/>
                </a:lnTo>
                <a:close/>
                <a:moveTo>
                  <a:pt x="13359" y="6210"/>
                </a:moveTo>
                <a:lnTo>
                  <a:pt x="13393" y="6211"/>
                </a:lnTo>
                <a:lnTo>
                  <a:pt x="13425" y="6213"/>
                </a:lnTo>
                <a:lnTo>
                  <a:pt x="13458" y="6218"/>
                </a:lnTo>
                <a:lnTo>
                  <a:pt x="13490" y="6223"/>
                </a:lnTo>
                <a:lnTo>
                  <a:pt x="13521" y="6231"/>
                </a:lnTo>
                <a:lnTo>
                  <a:pt x="13552" y="6239"/>
                </a:lnTo>
                <a:lnTo>
                  <a:pt x="13582" y="6250"/>
                </a:lnTo>
                <a:lnTo>
                  <a:pt x="13612" y="6261"/>
                </a:lnTo>
                <a:lnTo>
                  <a:pt x="13640" y="6274"/>
                </a:lnTo>
                <a:lnTo>
                  <a:pt x="13668" y="6289"/>
                </a:lnTo>
                <a:lnTo>
                  <a:pt x="13695" y="6305"/>
                </a:lnTo>
                <a:lnTo>
                  <a:pt x="13723" y="6321"/>
                </a:lnTo>
                <a:lnTo>
                  <a:pt x="13748" y="6339"/>
                </a:lnTo>
                <a:lnTo>
                  <a:pt x="13773" y="6359"/>
                </a:lnTo>
                <a:lnTo>
                  <a:pt x="13796" y="6379"/>
                </a:lnTo>
                <a:lnTo>
                  <a:pt x="13819" y="6401"/>
                </a:lnTo>
                <a:lnTo>
                  <a:pt x="13841" y="6423"/>
                </a:lnTo>
                <a:lnTo>
                  <a:pt x="13861" y="6447"/>
                </a:lnTo>
                <a:lnTo>
                  <a:pt x="13880" y="6472"/>
                </a:lnTo>
                <a:lnTo>
                  <a:pt x="13898" y="6498"/>
                </a:lnTo>
                <a:lnTo>
                  <a:pt x="13915" y="6524"/>
                </a:lnTo>
                <a:lnTo>
                  <a:pt x="13931" y="6551"/>
                </a:lnTo>
                <a:lnTo>
                  <a:pt x="13945" y="6579"/>
                </a:lnTo>
                <a:lnTo>
                  <a:pt x="13959" y="6608"/>
                </a:lnTo>
                <a:lnTo>
                  <a:pt x="13970" y="6638"/>
                </a:lnTo>
                <a:lnTo>
                  <a:pt x="13980" y="6668"/>
                </a:lnTo>
                <a:lnTo>
                  <a:pt x="13989" y="6699"/>
                </a:lnTo>
                <a:lnTo>
                  <a:pt x="13997" y="6730"/>
                </a:lnTo>
                <a:lnTo>
                  <a:pt x="14002" y="6762"/>
                </a:lnTo>
                <a:lnTo>
                  <a:pt x="14007" y="6794"/>
                </a:lnTo>
                <a:lnTo>
                  <a:pt x="14009" y="6827"/>
                </a:lnTo>
                <a:lnTo>
                  <a:pt x="14010" y="6860"/>
                </a:lnTo>
                <a:lnTo>
                  <a:pt x="14009" y="6894"/>
                </a:lnTo>
                <a:lnTo>
                  <a:pt x="14007" y="6927"/>
                </a:lnTo>
                <a:lnTo>
                  <a:pt x="14002" y="6959"/>
                </a:lnTo>
                <a:lnTo>
                  <a:pt x="13997" y="6991"/>
                </a:lnTo>
                <a:lnTo>
                  <a:pt x="13989" y="7023"/>
                </a:lnTo>
                <a:lnTo>
                  <a:pt x="13980" y="7053"/>
                </a:lnTo>
                <a:lnTo>
                  <a:pt x="13970" y="7084"/>
                </a:lnTo>
                <a:lnTo>
                  <a:pt x="13959" y="7113"/>
                </a:lnTo>
                <a:lnTo>
                  <a:pt x="13945" y="7142"/>
                </a:lnTo>
                <a:lnTo>
                  <a:pt x="13931" y="7170"/>
                </a:lnTo>
                <a:lnTo>
                  <a:pt x="13915" y="7197"/>
                </a:lnTo>
                <a:lnTo>
                  <a:pt x="13898" y="7223"/>
                </a:lnTo>
                <a:lnTo>
                  <a:pt x="13880" y="7249"/>
                </a:lnTo>
                <a:lnTo>
                  <a:pt x="13861" y="7273"/>
                </a:lnTo>
                <a:lnTo>
                  <a:pt x="13841" y="7297"/>
                </a:lnTo>
                <a:lnTo>
                  <a:pt x="13819" y="7319"/>
                </a:lnTo>
                <a:lnTo>
                  <a:pt x="13796" y="7341"/>
                </a:lnTo>
                <a:lnTo>
                  <a:pt x="13773" y="7362"/>
                </a:lnTo>
                <a:lnTo>
                  <a:pt x="13748" y="7381"/>
                </a:lnTo>
                <a:lnTo>
                  <a:pt x="13723" y="7399"/>
                </a:lnTo>
                <a:lnTo>
                  <a:pt x="13695" y="7416"/>
                </a:lnTo>
                <a:lnTo>
                  <a:pt x="13668" y="7432"/>
                </a:lnTo>
                <a:lnTo>
                  <a:pt x="13640" y="7446"/>
                </a:lnTo>
                <a:lnTo>
                  <a:pt x="13612" y="7459"/>
                </a:lnTo>
                <a:lnTo>
                  <a:pt x="13582" y="7471"/>
                </a:lnTo>
                <a:lnTo>
                  <a:pt x="13552" y="7481"/>
                </a:lnTo>
                <a:lnTo>
                  <a:pt x="13521" y="7490"/>
                </a:lnTo>
                <a:lnTo>
                  <a:pt x="13490" y="7497"/>
                </a:lnTo>
                <a:lnTo>
                  <a:pt x="13458" y="7503"/>
                </a:lnTo>
                <a:lnTo>
                  <a:pt x="13425" y="7507"/>
                </a:lnTo>
                <a:lnTo>
                  <a:pt x="13393" y="7509"/>
                </a:lnTo>
                <a:lnTo>
                  <a:pt x="13359" y="7510"/>
                </a:lnTo>
                <a:lnTo>
                  <a:pt x="13326" y="7509"/>
                </a:lnTo>
                <a:lnTo>
                  <a:pt x="13293" y="7507"/>
                </a:lnTo>
                <a:lnTo>
                  <a:pt x="13260" y="7503"/>
                </a:lnTo>
                <a:lnTo>
                  <a:pt x="13229" y="7497"/>
                </a:lnTo>
                <a:lnTo>
                  <a:pt x="13197" y="7490"/>
                </a:lnTo>
                <a:lnTo>
                  <a:pt x="13165" y="7481"/>
                </a:lnTo>
                <a:lnTo>
                  <a:pt x="13135" y="7471"/>
                </a:lnTo>
                <a:lnTo>
                  <a:pt x="13106" y="7459"/>
                </a:lnTo>
                <a:lnTo>
                  <a:pt x="13077" y="7446"/>
                </a:lnTo>
                <a:lnTo>
                  <a:pt x="13049" y="7432"/>
                </a:lnTo>
                <a:lnTo>
                  <a:pt x="13022" y="7416"/>
                </a:lnTo>
                <a:lnTo>
                  <a:pt x="12995" y="7399"/>
                </a:lnTo>
                <a:lnTo>
                  <a:pt x="12970" y="7381"/>
                </a:lnTo>
                <a:lnTo>
                  <a:pt x="12945" y="7362"/>
                </a:lnTo>
                <a:lnTo>
                  <a:pt x="12922" y="7341"/>
                </a:lnTo>
                <a:lnTo>
                  <a:pt x="12899" y="7319"/>
                </a:lnTo>
                <a:lnTo>
                  <a:pt x="12878" y="7297"/>
                </a:lnTo>
                <a:lnTo>
                  <a:pt x="12857" y="7273"/>
                </a:lnTo>
                <a:lnTo>
                  <a:pt x="12838" y="7249"/>
                </a:lnTo>
                <a:lnTo>
                  <a:pt x="12820" y="7223"/>
                </a:lnTo>
                <a:lnTo>
                  <a:pt x="12803" y="7197"/>
                </a:lnTo>
                <a:lnTo>
                  <a:pt x="12787" y="7170"/>
                </a:lnTo>
                <a:lnTo>
                  <a:pt x="12773" y="7142"/>
                </a:lnTo>
                <a:lnTo>
                  <a:pt x="12760" y="7113"/>
                </a:lnTo>
                <a:lnTo>
                  <a:pt x="12748" y="7084"/>
                </a:lnTo>
                <a:lnTo>
                  <a:pt x="12738" y="7053"/>
                </a:lnTo>
                <a:lnTo>
                  <a:pt x="12729" y="7023"/>
                </a:lnTo>
                <a:lnTo>
                  <a:pt x="12722" y="6991"/>
                </a:lnTo>
                <a:lnTo>
                  <a:pt x="12716" y="6959"/>
                </a:lnTo>
                <a:lnTo>
                  <a:pt x="12712" y="6927"/>
                </a:lnTo>
                <a:lnTo>
                  <a:pt x="12709" y="6894"/>
                </a:lnTo>
                <a:lnTo>
                  <a:pt x="12709" y="6860"/>
                </a:lnTo>
                <a:lnTo>
                  <a:pt x="12709" y="6827"/>
                </a:lnTo>
                <a:lnTo>
                  <a:pt x="12712" y="6794"/>
                </a:lnTo>
                <a:lnTo>
                  <a:pt x="12716" y="6762"/>
                </a:lnTo>
                <a:lnTo>
                  <a:pt x="12722" y="6730"/>
                </a:lnTo>
                <a:lnTo>
                  <a:pt x="12729" y="6699"/>
                </a:lnTo>
                <a:lnTo>
                  <a:pt x="12738" y="6668"/>
                </a:lnTo>
                <a:lnTo>
                  <a:pt x="12748" y="6638"/>
                </a:lnTo>
                <a:lnTo>
                  <a:pt x="12760" y="6608"/>
                </a:lnTo>
                <a:lnTo>
                  <a:pt x="12773" y="6579"/>
                </a:lnTo>
                <a:lnTo>
                  <a:pt x="12787" y="6551"/>
                </a:lnTo>
                <a:lnTo>
                  <a:pt x="12803" y="6524"/>
                </a:lnTo>
                <a:lnTo>
                  <a:pt x="12820" y="6498"/>
                </a:lnTo>
                <a:lnTo>
                  <a:pt x="12838" y="6472"/>
                </a:lnTo>
                <a:lnTo>
                  <a:pt x="12857" y="6447"/>
                </a:lnTo>
                <a:lnTo>
                  <a:pt x="12878" y="6423"/>
                </a:lnTo>
                <a:lnTo>
                  <a:pt x="12899" y="6401"/>
                </a:lnTo>
                <a:lnTo>
                  <a:pt x="12922" y="6379"/>
                </a:lnTo>
                <a:lnTo>
                  <a:pt x="12945" y="6359"/>
                </a:lnTo>
                <a:lnTo>
                  <a:pt x="12970" y="6339"/>
                </a:lnTo>
                <a:lnTo>
                  <a:pt x="12995" y="6321"/>
                </a:lnTo>
                <a:lnTo>
                  <a:pt x="13022" y="6305"/>
                </a:lnTo>
                <a:lnTo>
                  <a:pt x="13049" y="6289"/>
                </a:lnTo>
                <a:lnTo>
                  <a:pt x="13077" y="6274"/>
                </a:lnTo>
                <a:lnTo>
                  <a:pt x="13106" y="6261"/>
                </a:lnTo>
                <a:lnTo>
                  <a:pt x="13135" y="6250"/>
                </a:lnTo>
                <a:lnTo>
                  <a:pt x="13165" y="6239"/>
                </a:lnTo>
                <a:lnTo>
                  <a:pt x="13197" y="6231"/>
                </a:lnTo>
                <a:lnTo>
                  <a:pt x="13229" y="6223"/>
                </a:lnTo>
                <a:lnTo>
                  <a:pt x="13260" y="6218"/>
                </a:lnTo>
                <a:lnTo>
                  <a:pt x="13293" y="6213"/>
                </a:lnTo>
                <a:lnTo>
                  <a:pt x="13326" y="6211"/>
                </a:lnTo>
                <a:lnTo>
                  <a:pt x="13359" y="6210"/>
                </a:lnTo>
                <a:close/>
                <a:moveTo>
                  <a:pt x="10311" y="10076"/>
                </a:moveTo>
                <a:lnTo>
                  <a:pt x="12297" y="10076"/>
                </a:lnTo>
                <a:lnTo>
                  <a:pt x="12297" y="12984"/>
                </a:lnTo>
                <a:lnTo>
                  <a:pt x="10311" y="12984"/>
                </a:lnTo>
                <a:lnTo>
                  <a:pt x="10311" y="10076"/>
                </a:lnTo>
                <a:close/>
                <a:moveTo>
                  <a:pt x="5887" y="8913"/>
                </a:moveTo>
                <a:lnTo>
                  <a:pt x="7428" y="8913"/>
                </a:lnTo>
                <a:lnTo>
                  <a:pt x="7428" y="10452"/>
                </a:lnTo>
                <a:lnTo>
                  <a:pt x="5887" y="10452"/>
                </a:lnTo>
                <a:lnTo>
                  <a:pt x="5887" y="8913"/>
                </a:lnTo>
                <a:close/>
                <a:moveTo>
                  <a:pt x="3797" y="8913"/>
                </a:moveTo>
                <a:lnTo>
                  <a:pt x="5339" y="8913"/>
                </a:lnTo>
                <a:lnTo>
                  <a:pt x="5339" y="10452"/>
                </a:lnTo>
                <a:lnTo>
                  <a:pt x="3797" y="10452"/>
                </a:lnTo>
                <a:lnTo>
                  <a:pt x="3797" y="8913"/>
                </a:lnTo>
                <a:close/>
                <a:moveTo>
                  <a:pt x="1708" y="8913"/>
                </a:moveTo>
                <a:lnTo>
                  <a:pt x="3249" y="8913"/>
                </a:lnTo>
                <a:lnTo>
                  <a:pt x="3249" y="10452"/>
                </a:lnTo>
                <a:lnTo>
                  <a:pt x="1708" y="10452"/>
                </a:lnTo>
                <a:lnTo>
                  <a:pt x="1708" y="8913"/>
                </a:lnTo>
                <a:close/>
                <a:moveTo>
                  <a:pt x="6577" y="14045"/>
                </a:moveTo>
                <a:lnTo>
                  <a:pt x="16031" y="14045"/>
                </a:lnTo>
                <a:lnTo>
                  <a:pt x="16031" y="14421"/>
                </a:lnTo>
                <a:lnTo>
                  <a:pt x="6577" y="14421"/>
                </a:lnTo>
                <a:lnTo>
                  <a:pt x="6577" y="14045"/>
                </a:lnTo>
                <a:close/>
                <a:moveTo>
                  <a:pt x="7553" y="13360"/>
                </a:moveTo>
                <a:lnTo>
                  <a:pt x="15055" y="13360"/>
                </a:lnTo>
                <a:lnTo>
                  <a:pt x="15055" y="13737"/>
                </a:lnTo>
                <a:lnTo>
                  <a:pt x="7553" y="13737"/>
                </a:lnTo>
                <a:lnTo>
                  <a:pt x="7553" y="13360"/>
                </a:lnTo>
                <a:close/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itchFamily="34" charset="0"/>
            </a:endParaRPr>
          </a:p>
        </p:txBody>
      </p:sp>
      <p:sp>
        <p:nvSpPr>
          <p:cNvPr id="119" name="椭圆 118"/>
          <p:cNvSpPr/>
          <p:nvPr/>
        </p:nvSpPr>
        <p:spPr>
          <a:xfrm>
            <a:off x="3574094" y="4248526"/>
            <a:ext cx="584459" cy="584459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700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120" name="KSO_Shape"/>
          <p:cNvSpPr>
            <a:spLocks/>
          </p:cNvSpPr>
          <p:nvPr/>
        </p:nvSpPr>
        <p:spPr bwMode="auto">
          <a:xfrm>
            <a:off x="3708722" y="4369526"/>
            <a:ext cx="315203" cy="310193"/>
          </a:xfrm>
          <a:custGeom>
            <a:avLst/>
            <a:gdLst>
              <a:gd name="T0" fmla="*/ 2147483646 w 5822"/>
              <a:gd name="T1" fmla="*/ 2147483646 h 6759"/>
              <a:gd name="T2" fmla="*/ 2147483646 w 5822"/>
              <a:gd name="T3" fmla="*/ 2147483646 h 6759"/>
              <a:gd name="T4" fmla="*/ 2147483646 w 5822"/>
              <a:gd name="T5" fmla="*/ 2147483646 h 6759"/>
              <a:gd name="T6" fmla="*/ 2147483646 w 5822"/>
              <a:gd name="T7" fmla="*/ 2147483646 h 6759"/>
              <a:gd name="T8" fmla="*/ 2147483646 w 5822"/>
              <a:gd name="T9" fmla="*/ 2147483646 h 6759"/>
              <a:gd name="T10" fmla="*/ 2147483646 w 5822"/>
              <a:gd name="T11" fmla="*/ 1253760573 h 6759"/>
              <a:gd name="T12" fmla="*/ 2147483646 w 5822"/>
              <a:gd name="T13" fmla="*/ 2147483646 h 6759"/>
              <a:gd name="T14" fmla="*/ 2147483646 w 5822"/>
              <a:gd name="T15" fmla="*/ 2147483646 h 6759"/>
              <a:gd name="T16" fmla="*/ 2147483646 w 5822"/>
              <a:gd name="T17" fmla="*/ 2147483646 h 6759"/>
              <a:gd name="T18" fmla="*/ 2147483646 w 5822"/>
              <a:gd name="T19" fmla="*/ 2147483646 h 6759"/>
              <a:gd name="T20" fmla="*/ 2147483646 w 5822"/>
              <a:gd name="T21" fmla="*/ 2147483646 h 6759"/>
              <a:gd name="T22" fmla="*/ 2147483646 w 5822"/>
              <a:gd name="T23" fmla="*/ 2147483646 h 6759"/>
              <a:gd name="T24" fmla="*/ 2147483646 w 5822"/>
              <a:gd name="T25" fmla="*/ 2147483646 h 6759"/>
              <a:gd name="T26" fmla="*/ 2147483646 w 5822"/>
              <a:gd name="T27" fmla="*/ 2147483646 h 6759"/>
              <a:gd name="T28" fmla="*/ 2147483646 w 5822"/>
              <a:gd name="T29" fmla="*/ 2147483646 h 6759"/>
              <a:gd name="T30" fmla="*/ 2147483646 w 5822"/>
              <a:gd name="T31" fmla="*/ 2147483646 h 6759"/>
              <a:gd name="T32" fmla="*/ 2147483646 w 5822"/>
              <a:gd name="T33" fmla="*/ 2147483646 h 6759"/>
              <a:gd name="T34" fmla="*/ 2147483646 w 5822"/>
              <a:gd name="T35" fmla="*/ 2147483646 h 6759"/>
              <a:gd name="T36" fmla="*/ 2147483646 w 5822"/>
              <a:gd name="T37" fmla="*/ 2147483646 h 6759"/>
              <a:gd name="T38" fmla="*/ 2147483646 w 5822"/>
              <a:gd name="T39" fmla="*/ 2147483646 h 6759"/>
              <a:gd name="T40" fmla="*/ 0 w 5822"/>
              <a:gd name="T41" fmla="*/ 2147483646 h 6759"/>
              <a:gd name="T42" fmla="*/ 2147483646 w 5822"/>
              <a:gd name="T43" fmla="*/ 2147483646 h 6759"/>
              <a:gd name="T44" fmla="*/ 2147483646 w 5822"/>
              <a:gd name="T45" fmla="*/ 2147483646 h 6759"/>
              <a:gd name="T46" fmla="*/ 2147483646 w 5822"/>
              <a:gd name="T47" fmla="*/ 2147483646 h 6759"/>
              <a:gd name="T48" fmla="*/ 2147483646 w 5822"/>
              <a:gd name="T49" fmla="*/ 2147483646 h 6759"/>
              <a:gd name="T50" fmla="*/ 2147483646 w 5822"/>
              <a:gd name="T51" fmla="*/ 2147483646 h 6759"/>
              <a:gd name="T52" fmla="*/ 2147483646 w 5822"/>
              <a:gd name="T53" fmla="*/ 2147483646 h 6759"/>
              <a:gd name="T54" fmla="*/ 2147483646 w 5822"/>
              <a:gd name="T55" fmla="*/ 2147483646 h 6759"/>
              <a:gd name="T56" fmla="*/ 2147483646 w 5822"/>
              <a:gd name="T57" fmla="*/ 2147483646 h 6759"/>
              <a:gd name="T58" fmla="*/ 2147483646 w 5822"/>
              <a:gd name="T59" fmla="*/ 2147483646 h 6759"/>
              <a:gd name="T60" fmla="*/ 2147483646 w 5822"/>
              <a:gd name="T61" fmla="*/ 2147483646 h 6759"/>
              <a:gd name="T62" fmla="*/ 2147483646 w 5822"/>
              <a:gd name="T63" fmla="*/ 2147483646 h 6759"/>
              <a:gd name="T64" fmla="*/ 2147483646 w 5822"/>
              <a:gd name="T65" fmla="*/ 2147483646 h 6759"/>
              <a:gd name="T66" fmla="*/ 2147483646 w 5822"/>
              <a:gd name="T67" fmla="*/ 2147483646 h 6759"/>
              <a:gd name="T68" fmla="*/ 2147483646 w 5822"/>
              <a:gd name="T69" fmla="*/ 2147483646 h 6759"/>
              <a:gd name="T70" fmla="*/ 2147483646 w 5822"/>
              <a:gd name="T71" fmla="*/ 2147483646 h 6759"/>
              <a:gd name="T72" fmla="*/ 2147483646 w 5822"/>
              <a:gd name="T73" fmla="*/ 2147483646 h 6759"/>
              <a:gd name="T74" fmla="*/ 2147483646 w 5822"/>
              <a:gd name="T75" fmla="*/ 2147483646 h 6759"/>
              <a:gd name="T76" fmla="*/ 2147483646 w 5822"/>
              <a:gd name="T77" fmla="*/ 2147483646 h 6759"/>
              <a:gd name="T78" fmla="*/ 2147483646 w 5822"/>
              <a:gd name="T79" fmla="*/ 2147483646 h 6759"/>
              <a:gd name="T80" fmla="*/ 2147483646 w 5822"/>
              <a:gd name="T81" fmla="*/ 2147483646 h 6759"/>
              <a:gd name="T82" fmla="*/ 2147483646 w 5822"/>
              <a:gd name="T83" fmla="*/ 2147483646 h 6759"/>
              <a:gd name="T84" fmla="*/ 2147483646 w 5822"/>
              <a:gd name="T85" fmla="*/ 2147483646 h 6759"/>
              <a:gd name="T86" fmla="*/ 2147483646 w 5822"/>
              <a:gd name="T87" fmla="*/ 2147483646 h 6759"/>
              <a:gd name="T88" fmla="*/ 2147483646 w 5822"/>
              <a:gd name="T89" fmla="*/ 2147483646 h 6759"/>
              <a:gd name="T90" fmla="*/ 2147483646 w 5822"/>
              <a:gd name="T91" fmla="*/ 2147483646 h 6759"/>
              <a:gd name="T92" fmla="*/ 2147483646 w 5822"/>
              <a:gd name="T93" fmla="*/ 2147483646 h 6759"/>
              <a:gd name="T94" fmla="*/ 2147483646 w 5822"/>
              <a:gd name="T95" fmla="*/ 2147483646 h 6759"/>
              <a:gd name="T96" fmla="*/ 2147483646 w 5822"/>
              <a:gd name="T97" fmla="*/ 2147483646 h 675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22" h="6759">
                <a:moveTo>
                  <a:pt x="0" y="6351"/>
                </a:moveTo>
                <a:lnTo>
                  <a:pt x="129" y="6351"/>
                </a:lnTo>
                <a:lnTo>
                  <a:pt x="129" y="3057"/>
                </a:lnTo>
                <a:lnTo>
                  <a:pt x="129" y="2914"/>
                </a:lnTo>
                <a:lnTo>
                  <a:pt x="266" y="2865"/>
                </a:lnTo>
                <a:lnTo>
                  <a:pt x="1775" y="2337"/>
                </a:lnTo>
                <a:lnTo>
                  <a:pt x="1775" y="1515"/>
                </a:lnTo>
                <a:lnTo>
                  <a:pt x="1775" y="1386"/>
                </a:lnTo>
                <a:lnTo>
                  <a:pt x="1892" y="1331"/>
                </a:lnTo>
                <a:lnTo>
                  <a:pt x="4422" y="137"/>
                </a:lnTo>
                <a:lnTo>
                  <a:pt x="4714" y="0"/>
                </a:lnTo>
                <a:lnTo>
                  <a:pt x="4714" y="56"/>
                </a:lnTo>
                <a:lnTo>
                  <a:pt x="5511" y="532"/>
                </a:lnTo>
                <a:lnTo>
                  <a:pt x="5511" y="6326"/>
                </a:lnTo>
                <a:lnTo>
                  <a:pt x="5822" y="6326"/>
                </a:lnTo>
                <a:lnTo>
                  <a:pt x="5822" y="6734"/>
                </a:lnTo>
                <a:lnTo>
                  <a:pt x="4510" y="6734"/>
                </a:lnTo>
                <a:lnTo>
                  <a:pt x="4305" y="6734"/>
                </a:lnTo>
                <a:lnTo>
                  <a:pt x="4305" y="6529"/>
                </a:lnTo>
                <a:lnTo>
                  <a:pt x="4305" y="643"/>
                </a:lnTo>
                <a:lnTo>
                  <a:pt x="2183" y="1644"/>
                </a:lnTo>
                <a:lnTo>
                  <a:pt x="2183" y="2194"/>
                </a:lnTo>
                <a:lnTo>
                  <a:pt x="2798" y="1979"/>
                </a:lnTo>
                <a:lnTo>
                  <a:pt x="3035" y="1895"/>
                </a:lnTo>
                <a:lnTo>
                  <a:pt x="3035" y="1889"/>
                </a:lnTo>
                <a:lnTo>
                  <a:pt x="3042" y="1892"/>
                </a:lnTo>
                <a:lnTo>
                  <a:pt x="3068" y="1884"/>
                </a:lnTo>
                <a:lnTo>
                  <a:pt x="3068" y="1909"/>
                </a:lnTo>
                <a:lnTo>
                  <a:pt x="3862" y="2381"/>
                </a:lnTo>
                <a:lnTo>
                  <a:pt x="3862" y="6313"/>
                </a:lnTo>
                <a:lnTo>
                  <a:pt x="4177" y="6313"/>
                </a:lnTo>
                <a:lnTo>
                  <a:pt x="4177" y="6722"/>
                </a:lnTo>
                <a:lnTo>
                  <a:pt x="2865" y="6722"/>
                </a:lnTo>
                <a:lnTo>
                  <a:pt x="2661" y="6722"/>
                </a:lnTo>
                <a:lnTo>
                  <a:pt x="2661" y="6517"/>
                </a:lnTo>
                <a:lnTo>
                  <a:pt x="2661" y="2458"/>
                </a:lnTo>
                <a:lnTo>
                  <a:pt x="538" y="3202"/>
                </a:lnTo>
                <a:lnTo>
                  <a:pt x="538" y="6556"/>
                </a:lnTo>
                <a:lnTo>
                  <a:pt x="538" y="6759"/>
                </a:lnTo>
                <a:lnTo>
                  <a:pt x="334" y="6759"/>
                </a:lnTo>
                <a:lnTo>
                  <a:pt x="0" y="6759"/>
                </a:lnTo>
                <a:lnTo>
                  <a:pt x="0" y="6351"/>
                </a:lnTo>
                <a:close/>
                <a:moveTo>
                  <a:pt x="776" y="6707"/>
                </a:moveTo>
                <a:lnTo>
                  <a:pt x="776" y="6707"/>
                </a:lnTo>
                <a:lnTo>
                  <a:pt x="1501" y="6707"/>
                </a:lnTo>
                <a:lnTo>
                  <a:pt x="2348" y="6707"/>
                </a:lnTo>
                <a:lnTo>
                  <a:pt x="2348" y="5989"/>
                </a:lnTo>
                <a:lnTo>
                  <a:pt x="1501" y="6044"/>
                </a:lnTo>
                <a:lnTo>
                  <a:pt x="776" y="6092"/>
                </a:lnTo>
                <a:lnTo>
                  <a:pt x="776" y="6707"/>
                </a:lnTo>
                <a:close/>
                <a:moveTo>
                  <a:pt x="776" y="4048"/>
                </a:moveTo>
                <a:lnTo>
                  <a:pt x="776" y="4048"/>
                </a:lnTo>
                <a:lnTo>
                  <a:pt x="1501" y="3842"/>
                </a:lnTo>
                <a:lnTo>
                  <a:pt x="2348" y="3604"/>
                </a:lnTo>
                <a:lnTo>
                  <a:pt x="2348" y="2883"/>
                </a:lnTo>
                <a:lnTo>
                  <a:pt x="1501" y="3178"/>
                </a:lnTo>
                <a:lnTo>
                  <a:pt x="776" y="3431"/>
                </a:lnTo>
                <a:lnTo>
                  <a:pt x="776" y="4048"/>
                </a:lnTo>
                <a:close/>
                <a:moveTo>
                  <a:pt x="776" y="4926"/>
                </a:moveTo>
                <a:lnTo>
                  <a:pt x="776" y="4926"/>
                </a:lnTo>
                <a:lnTo>
                  <a:pt x="1501" y="4788"/>
                </a:lnTo>
                <a:lnTo>
                  <a:pt x="2348" y="4628"/>
                </a:lnTo>
                <a:lnTo>
                  <a:pt x="2348" y="3909"/>
                </a:lnTo>
                <a:lnTo>
                  <a:pt x="1501" y="4124"/>
                </a:lnTo>
                <a:lnTo>
                  <a:pt x="776" y="4310"/>
                </a:lnTo>
                <a:lnTo>
                  <a:pt x="776" y="4926"/>
                </a:lnTo>
                <a:close/>
                <a:moveTo>
                  <a:pt x="776" y="5811"/>
                </a:moveTo>
                <a:lnTo>
                  <a:pt x="776" y="5811"/>
                </a:lnTo>
                <a:lnTo>
                  <a:pt x="1501" y="5741"/>
                </a:lnTo>
                <a:lnTo>
                  <a:pt x="2348" y="5661"/>
                </a:lnTo>
                <a:lnTo>
                  <a:pt x="2348" y="4942"/>
                </a:lnTo>
                <a:lnTo>
                  <a:pt x="1501" y="5078"/>
                </a:lnTo>
                <a:lnTo>
                  <a:pt x="776" y="5194"/>
                </a:lnTo>
                <a:lnTo>
                  <a:pt x="776" y="5811"/>
                </a:lnTo>
                <a:close/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itchFamily="34" charset="0"/>
            </a:endParaRPr>
          </a:p>
        </p:txBody>
      </p:sp>
      <p:sp>
        <p:nvSpPr>
          <p:cNvPr id="121" name="椭圆 120"/>
          <p:cNvSpPr/>
          <p:nvPr/>
        </p:nvSpPr>
        <p:spPr>
          <a:xfrm>
            <a:off x="5162392" y="4248526"/>
            <a:ext cx="584459" cy="584459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700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122" name="KSO_Shape"/>
          <p:cNvSpPr>
            <a:spLocks/>
          </p:cNvSpPr>
          <p:nvPr/>
        </p:nvSpPr>
        <p:spPr bwMode="auto">
          <a:xfrm>
            <a:off x="5272354" y="4412645"/>
            <a:ext cx="363872" cy="269123"/>
          </a:xfrm>
          <a:custGeom>
            <a:avLst/>
            <a:gdLst>
              <a:gd name="T0" fmla="*/ 1733867 w 2074863"/>
              <a:gd name="T1" fmla="*/ 579834 h 1449388"/>
              <a:gd name="T2" fmla="*/ 1791884 w 2074863"/>
              <a:gd name="T3" fmla="*/ 600246 h 1449388"/>
              <a:gd name="T4" fmla="*/ 1794804 w 2074863"/>
              <a:gd name="T5" fmla="*/ 538648 h 1449388"/>
              <a:gd name="T6" fmla="*/ 510830 w 2074863"/>
              <a:gd name="T7" fmla="*/ 162256 h 1449388"/>
              <a:gd name="T8" fmla="*/ 492893 w 2074863"/>
              <a:gd name="T9" fmla="*/ 222976 h 1449388"/>
              <a:gd name="T10" fmla="*/ 438718 w 2074863"/>
              <a:gd name="T11" fmla="*/ 188484 h 1449388"/>
              <a:gd name="T12" fmla="*/ 1598128 w 2074863"/>
              <a:gd name="T13" fmla="*/ 142089 h 1449388"/>
              <a:gd name="T14" fmla="*/ 1885296 w 2074863"/>
              <a:gd name="T15" fmla="*/ 549583 h 1449388"/>
              <a:gd name="T16" fmla="*/ 1586087 w 2074863"/>
              <a:gd name="T17" fmla="*/ 450078 h 1449388"/>
              <a:gd name="T18" fmla="*/ 486453 w 2074863"/>
              <a:gd name="T19" fmla="*/ 72185 h 1449388"/>
              <a:gd name="T20" fmla="*/ 151219 w 2074863"/>
              <a:gd name="T21" fmla="*/ 357281 h 1449388"/>
              <a:gd name="T22" fmla="*/ 295879 w 2074863"/>
              <a:gd name="T23" fmla="*/ 407592 h 1449388"/>
              <a:gd name="T24" fmla="*/ 486453 w 2074863"/>
              <a:gd name="T25" fmla="*/ 72185 h 1449388"/>
              <a:gd name="T26" fmla="*/ 681762 w 2074863"/>
              <a:gd name="T27" fmla="*/ 209994 h 1449388"/>
              <a:gd name="T28" fmla="*/ 910960 w 2074863"/>
              <a:gd name="T29" fmla="*/ 275617 h 1449388"/>
              <a:gd name="T30" fmla="*/ 1184248 w 2074863"/>
              <a:gd name="T31" fmla="*/ 351448 h 1449388"/>
              <a:gd name="T32" fmla="*/ 1396319 w 2074863"/>
              <a:gd name="T33" fmla="*/ 332855 h 1449388"/>
              <a:gd name="T34" fmla="*/ 1606205 w 2074863"/>
              <a:gd name="T35" fmla="*/ 562536 h 1449388"/>
              <a:gd name="T36" fmla="*/ 1640821 w 2074863"/>
              <a:gd name="T37" fmla="*/ 739718 h 1449388"/>
              <a:gd name="T38" fmla="*/ 1379558 w 2074863"/>
              <a:gd name="T39" fmla="*/ 843985 h 1449388"/>
              <a:gd name="T40" fmla="*/ 1124853 w 2074863"/>
              <a:gd name="T41" fmla="*/ 641283 h 1449388"/>
              <a:gd name="T42" fmla="*/ 720387 w 2074863"/>
              <a:gd name="T43" fmla="*/ 519516 h 1449388"/>
              <a:gd name="T44" fmla="*/ 653705 w 2074863"/>
              <a:gd name="T45" fmla="*/ 311345 h 1449388"/>
              <a:gd name="T46" fmla="*/ 325395 w 2074863"/>
              <a:gd name="T47" fmla="*/ 480871 h 1449388"/>
              <a:gd name="T48" fmla="*/ 435438 w 2074863"/>
              <a:gd name="T49" fmla="*/ 683574 h 1449388"/>
              <a:gd name="T50" fmla="*/ 530543 w 2074863"/>
              <a:gd name="T51" fmla="*/ 794768 h 1449388"/>
              <a:gd name="T52" fmla="*/ 611436 w 2074863"/>
              <a:gd name="T53" fmla="*/ 890286 h 1449388"/>
              <a:gd name="T54" fmla="*/ 688686 w 2074863"/>
              <a:gd name="T55" fmla="*/ 1001480 h 1449388"/>
              <a:gd name="T56" fmla="*/ 800188 w 2074863"/>
              <a:gd name="T57" fmla="*/ 1230068 h 1449388"/>
              <a:gd name="T58" fmla="*/ 913511 w 2074863"/>
              <a:gd name="T59" fmla="*/ 1255588 h 1449388"/>
              <a:gd name="T60" fmla="*/ 768486 w 2074863"/>
              <a:gd name="T61" fmla="*/ 1063458 h 1449388"/>
              <a:gd name="T62" fmla="*/ 798730 w 2074863"/>
              <a:gd name="T63" fmla="*/ 1022261 h 1449388"/>
              <a:gd name="T64" fmla="*/ 1047604 w 2074863"/>
              <a:gd name="T65" fmla="*/ 1245015 h 1449388"/>
              <a:gd name="T66" fmla="*/ 1112465 w 2074863"/>
              <a:gd name="T67" fmla="*/ 1184496 h 1449388"/>
              <a:gd name="T68" fmla="*/ 841727 w 2074863"/>
              <a:gd name="T69" fmla="*/ 896119 h 1449388"/>
              <a:gd name="T70" fmla="*/ 886182 w 2074863"/>
              <a:gd name="T71" fmla="*/ 868047 h 1449388"/>
              <a:gd name="T72" fmla="*/ 1205383 w 2074863"/>
              <a:gd name="T73" fmla="*/ 1138195 h 1449388"/>
              <a:gd name="T74" fmla="*/ 1202468 w 2074863"/>
              <a:gd name="T75" fmla="*/ 1026636 h 1449388"/>
              <a:gd name="T76" fmla="*/ 955779 w 2074863"/>
              <a:gd name="T77" fmla="*/ 749197 h 1449388"/>
              <a:gd name="T78" fmla="*/ 1006793 w 2074863"/>
              <a:gd name="T79" fmla="*/ 736437 h 1449388"/>
              <a:gd name="T80" fmla="*/ 1311053 w 2074863"/>
              <a:gd name="T81" fmla="*/ 1001480 h 1449388"/>
              <a:gd name="T82" fmla="*/ 1303037 w 2074863"/>
              <a:gd name="T83" fmla="*/ 890286 h 1449388"/>
              <a:gd name="T84" fmla="*/ 1310325 w 2074863"/>
              <a:gd name="T85" fmla="*/ 838516 h 1449388"/>
              <a:gd name="T86" fmla="*/ 1409802 w 2074863"/>
              <a:gd name="T87" fmla="*/ 919087 h 1449388"/>
              <a:gd name="T88" fmla="*/ 1378829 w 2074863"/>
              <a:gd name="T89" fmla="*/ 1028094 h 1449388"/>
              <a:gd name="T90" fmla="*/ 1306317 w 2074863"/>
              <a:gd name="T91" fmla="*/ 1123248 h 1449388"/>
              <a:gd name="T92" fmla="*/ 1210119 w 2074863"/>
              <a:gd name="T93" fmla="*/ 1205641 h 1449388"/>
              <a:gd name="T94" fmla="*/ 1113922 w 2074863"/>
              <a:gd name="T95" fmla="*/ 1290222 h 1449388"/>
              <a:gd name="T96" fmla="*/ 1016631 w 2074863"/>
              <a:gd name="T97" fmla="*/ 1300795 h 1449388"/>
              <a:gd name="T98" fmla="*/ 897478 w 2074863"/>
              <a:gd name="T99" fmla="*/ 1327044 h 1449388"/>
              <a:gd name="T100" fmla="*/ 625648 w 2074863"/>
              <a:gd name="T101" fmla="*/ 1160798 h 1449388"/>
              <a:gd name="T102" fmla="*/ 491918 w 2074863"/>
              <a:gd name="T103" fmla="*/ 1202360 h 1449388"/>
              <a:gd name="T104" fmla="*/ 458760 w 2074863"/>
              <a:gd name="T105" fmla="*/ 1134550 h 1449388"/>
              <a:gd name="T106" fmla="*/ 365477 w 2074863"/>
              <a:gd name="T107" fmla="*/ 1057260 h 1449388"/>
              <a:gd name="T108" fmla="*/ 317378 w 2074863"/>
              <a:gd name="T109" fmla="*/ 969763 h 1449388"/>
              <a:gd name="T110" fmla="*/ 233206 w 2074863"/>
              <a:gd name="T111" fmla="*/ 865131 h 1449388"/>
              <a:gd name="T112" fmla="*/ 268916 w 2074863"/>
              <a:gd name="T113" fmla="*/ 733520 h 1449388"/>
              <a:gd name="T114" fmla="*/ 186565 w 2074863"/>
              <a:gd name="T115" fmla="*/ 647845 h 1449388"/>
              <a:gd name="T116" fmla="*/ 1822 w 2074863"/>
              <a:gd name="T117" fmla="*/ 438580 h 1449388"/>
              <a:gd name="T118" fmla="*/ 272923 w 2074863"/>
              <a:gd name="T119" fmla="*/ 139996 h 144938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074863" h="1449388">
                <a:moveTo>
                  <a:pt x="1923841" y="577723"/>
                </a:moveTo>
                <a:lnTo>
                  <a:pt x="1919867" y="578517"/>
                </a:lnTo>
                <a:lnTo>
                  <a:pt x="1915893" y="579312"/>
                </a:lnTo>
                <a:lnTo>
                  <a:pt x="1911919" y="580503"/>
                </a:lnTo>
                <a:lnTo>
                  <a:pt x="1907944" y="582488"/>
                </a:lnTo>
                <a:lnTo>
                  <a:pt x="1904765" y="584871"/>
                </a:lnTo>
                <a:lnTo>
                  <a:pt x="1901983" y="586857"/>
                </a:lnTo>
                <a:lnTo>
                  <a:pt x="1898804" y="589636"/>
                </a:lnTo>
                <a:lnTo>
                  <a:pt x="1896022" y="592813"/>
                </a:lnTo>
                <a:lnTo>
                  <a:pt x="1893240" y="595593"/>
                </a:lnTo>
                <a:lnTo>
                  <a:pt x="1891253" y="599167"/>
                </a:lnTo>
                <a:lnTo>
                  <a:pt x="1889663" y="602741"/>
                </a:lnTo>
                <a:lnTo>
                  <a:pt x="1888471" y="606712"/>
                </a:lnTo>
                <a:lnTo>
                  <a:pt x="1887278" y="610683"/>
                </a:lnTo>
                <a:lnTo>
                  <a:pt x="1886483" y="615051"/>
                </a:lnTo>
                <a:lnTo>
                  <a:pt x="1886483" y="619419"/>
                </a:lnTo>
                <a:lnTo>
                  <a:pt x="1886483" y="623390"/>
                </a:lnTo>
                <a:lnTo>
                  <a:pt x="1887278" y="627758"/>
                </a:lnTo>
                <a:lnTo>
                  <a:pt x="1888471" y="631729"/>
                </a:lnTo>
                <a:lnTo>
                  <a:pt x="1889663" y="635303"/>
                </a:lnTo>
                <a:lnTo>
                  <a:pt x="1891253" y="639274"/>
                </a:lnTo>
                <a:lnTo>
                  <a:pt x="1893240" y="642451"/>
                </a:lnTo>
                <a:lnTo>
                  <a:pt x="1896022" y="646025"/>
                </a:lnTo>
                <a:lnTo>
                  <a:pt x="1898804" y="648805"/>
                </a:lnTo>
                <a:lnTo>
                  <a:pt x="1901983" y="651188"/>
                </a:lnTo>
                <a:lnTo>
                  <a:pt x="1904765" y="653967"/>
                </a:lnTo>
                <a:lnTo>
                  <a:pt x="1907944" y="655953"/>
                </a:lnTo>
                <a:lnTo>
                  <a:pt x="1911919" y="657541"/>
                </a:lnTo>
                <a:lnTo>
                  <a:pt x="1915893" y="659130"/>
                </a:lnTo>
                <a:lnTo>
                  <a:pt x="1919867" y="660321"/>
                </a:lnTo>
                <a:lnTo>
                  <a:pt x="1923841" y="660718"/>
                </a:lnTo>
                <a:lnTo>
                  <a:pt x="1928213" y="661115"/>
                </a:lnTo>
                <a:lnTo>
                  <a:pt x="1932585" y="660718"/>
                </a:lnTo>
                <a:lnTo>
                  <a:pt x="1936956" y="660321"/>
                </a:lnTo>
                <a:lnTo>
                  <a:pt x="1940533" y="659130"/>
                </a:lnTo>
                <a:lnTo>
                  <a:pt x="1944508" y="657541"/>
                </a:lnTo>
                <a:lnTo>
                  <a:pt x="1948084" y="655953"/>
                </a:lnTo>
                <a:lnTo>
                  <a:pt x="1951661" y="653967"/>
                </a:lnTo>
                <a:lnTo>
                  <a:pt x="1954841" y="651188"/>
                </a:lnTo>
                <a:lnTo>
                  <a:pt x="1958020" y="648805"/>
                </a:lnTo>
                <a:lnTo>
                  <a:pt x="1960405" y="646025"/>
                </a:lnTo>
                <a:lnTo>
                  <a:pt x="1963187" y="642451"/>
                </a:lnTo>
                <a:lnTo>
                  <a:pt x="1965174" y="639274"/>
                </a:lnTo>
                <a:lnTo>
                  <a:pt x="1966763" y="635303"/>
                </a:lnTo>
                <a:lnTo>
                  <a:pt x="1967956" y="631729"/>
                </a:lnTo>
                <a:lnTo>
                  <a:pt x="1969148" y="627758"/>
                </a:lnTo>
                <a:lnTo>
                  <a:pt x="1969943" y="623390"/>
                </a:lnTo>
                <a:lnTo>
                  <a:pt x="1970340" y="619419"/>
                </a:lnTo>
                <a:lnTo>
                  <a:pt x="1969943" y="615051"/>
                </a:lnTo>
                <a:lnTo>
                  <a:pt x="1969148" y="610683"/>
                </a:lnTo>
                <a:lnTo>
                  <a:pt x="1967956" y="606712"/>
                </a:lnTo>
                <a:lnTo>
                  <a:pt x="1966763" y="602741"/>
                </a:lnTo>
                <a:lnTo>
                  <a:pt x="1965174" y="599167"/>
                </a:lnTo>
                <a:lnTo>
                  <a:pt x="1963187" y="595593"/>
                </a:lnTo>
                <a:lnTo>
                  <a:pt x="1960405" y="592813"/>
                </a:lnTo>
                <a:lnTo>
                  <a:pt x="1958020" y="589636"/>
                </a:lnTo>
                <a:lnTo>
                  <a:pt x="1954841" y="586857"/>
                </a:lnTo>
                <a:lnTo>
                  <a:pt x="1951661" y="584871"/>
                </a:lnTo>
                <a:lnTo>
                  <a:pt x="1948084" y="582488"/>
                </a:lnTo>
                <a:lnTo>
                  <a:pt x="1944508" y="580503"/>
                </a:lnTo>
                <a:lnTo>
                  <a:pt x="1940533" y="579312"/>
                </a:lnTo>
                <a:lnTo>
                  <a:pt x="1936956" y="578517"/>
                </a:lnTo>
                <a:lnTo>
                  <a:pt x="1932585" y="577723"/>
                </a:lnTo>
                <a:lnTo>
                  <a:pt x="1928213" y="577723"/>
                </a:lnTo>
                <a:lnTo>
                  <a:pt x="1923841" y="577723"/>
                </a:lnTo>
                <a:close/>
                <a:moveTo>
                  <a:pt x="519301" y="160338"/>
                </a:moveTo>
                <a:lnTo>
                  <a:pt x="523687" y="160338"/>
                </a:lnTo>
                <a:lnTo>
                  <a:pt x="528072" y="160729"/>
                </a:lnTo>
                <a:lnTo>
                  <a:pt x="532059" y="161512"/>
                </a:lnTo>
                <a:lnTo>
                  <a:pt x="536445" y="162687"/>
                </a:lnTo>
                <a:lnTo>
                  <a:pt x="540033" y="163861"/>
                </a:lnTo>
                <a:lnTo>
                  <a:pt x="544020" y="166210"/>
                </a:lnTo>
                <a:lnTo>
                  <a:pt x="547209" y="168558"/>
                </a:lnTo>
                <a:lnTo>
                  <a:pt x="550399" y="170907"/>
                </a:lnTo>
                <a:lnTo>
                  <a:pt x="553588" y="174038"/>
                </a:lnTo>
                <a:lnTo>
                  <a:pt x="556379" y="176778"/>
                </a:lnTo>
                <a:lnTo>
                  <a:pt x="558771" y="180693"/>
                </a:lnTo>
                <a:lnTo>
                  <a:pt x="560366" y="183824"/>
                </a:lnTo>
                <a:lnTo>
                  <a:pt x="562359" y="188130"/>
                </a:lnTo>
                <a:lnTo>
                  <a:pt x="563954" y="192436"/>
                </a:lnTo>
                <a:lnTo>
                  <a:pt x="564752" y="196350"/>
                </a:lnTo>
                <a:lnTo>
                  <a:pt x="565150" y="201048"/>
                </a:lnTo>
                <a:lnTo>
                  <a:pt x="565150" y="205353"/>
                </a:lnTo>
                <a:lnTo>
                  <a:pt x="564752" y="209268"/>
                </a:lnTo>
                <a:lnTo>
                  <a:pt x="563954" y="213574"/>
                </a:lnTo>
                <a:lnTo>
                  <a:pt x="562758" y="217488"/>
                </a:lnTo>
                <a:lnTo>
                  <a:pt x="560765" y="221402"/>
                </a:lnTo>
                <a:lnTo>
                  <a:pt x="558771" y="224925"/>
                </a:lnTo>
                <a:lnTo>
                  <a:pt x="556778" y="228448"/>
                </a:lnTo>
                <a:lnTo>
                  <a:pt x="553987" y="231188"/>
                </a:lnTo>
                <a:lnTo>
                  <a:pt x="551196" y="234711"/>
                </a:lnTo>
                <a:lnTo>
                  <a:pt x="547608" y="237060"/>
                </a:lnTo>
                <a:lnTo>
                  <a:pt x="544418" y="239800"/>
                </a:lnTo>
                <a:lnTo>
                  <a:pt x="540431" y="241366"/>
                </a:lnTo>
                <a:lnTo>
                  <a:pt x="536843" y="242932"/>
                </a:lnTo>
                <a:lnTo>
                  <a:pt x="532458" y="244497"/>
                </a:lnTo>
                <a:lnTo>
                  <a:pt x="528072" y="245672"/>
                </a:lnTo>
                <a:lnTo>
                  <a:pt x="523687" y="246063"/>
                </a:lnTo>
                <a:lnTo>
                  <a:pt x="518902" y="246063"/>
                </a:lnTo>
                <a:lnTo>
                  <a:pt x="514915" y="245672"/>
                </a:lnTo>
                <a:lnTo>
                  <a:pt x="510530" y="244497"/>
                </a:lnTo>
                <a:lnTo>
                  <a:pt x="506543" y="243323"/>
                </a:lnTo>
                <a:lnTo>
                  <a:pt x="502955" y="241757"/>
                </a:lnTo>
                <a:lnTo>
                  <a:pt x="498968" y="239800"/>
                </a:lnTo>
                <a:lnTo>
                  <a:pt x="495778" y="237451"/>
                </a:lnTo>
                <a:lnTo>
                  <a:pt x="492190" y="235103"/>
                </a:lnTo>
                <a:lnTo>
                  <a:pt x="489399" y="232363"/>
                </a:lnTo>
                <a:lnTo>
                  <a:pt x="486210" y="228840"/>
                </a:lnTo>
                <a:lnTo>
                  <a:pt x="484216" y="225708"/>
                </a:lnTo>
                <a:lnTo>
                  <a:pt x="482223" y="221794"/>
                </a:lnTo>
                <a:lnTo>
                  <a:pt x="480628" y="217879"/>
                </a:lnTo>
                <a:lnTo>
                  <a:pt x="479033" y="213965"/>
                </a:lnTo>
                <a:lnTo>
                  <a:pt x="478236" y="209268"/>
                </a:lnTo>
                <a:lnTo>
                  <a:pt x="477837" y="205353"/>
                </a:lnTo>
                <a:lnTo>
                  <a:pt x="477837" y="200656"/>
                </a:lnTo>
                <a:lnTo>
                  <a:pt x="478236" y="196350"/>
                </a:lnTo>
                <a:lnTo>
                  <a:pt x="479033" y="192436"/>
                </a:lnTo>
                <a:lnTo>
                  <a:pt x="480628" y="188522"/>
                </a:lnTo>
                <a:lnTo>
                  <a:pt x="481824" y="184607"/>
                </a:lnTo>
                <a:lnTo>
                  <a:pt x="483818" y="181084"/>
                </a:lnTo>
                <a:lnTo>
                  <a:pt x="486210" y="177561"/>
                </a:lnTo>
                <a:lnTo>
                  <a:pt x="489001" y="174430"/>
                </a:lnTo>
                <a:lnTo>
                  <a:pt x="491791" y="171298"/>
                </a:lnTo>
                <a:lnTo>
                  <a:pt x="494981" y="168558"/>
                </a:lnTo>
                <a:lnTo>
                  <a:pt x="498569" y="166601"/>
                </a:lnTo>
                <a:lnTo>
                  <a:pt x="502157" y="164252"/>
                </a:lnTo>
                <a:lnTo>
                  <a:pt x="506144" y="162687"/>
                </a:lnTo>
                <a:lnTo>
                  <a:pt x="510530" y="161512"/>
                </a:lnTo>
                <a:lnTo>
                  <a:pt x="514915" y="160729"/>
                </a:lnTo>
                <a:lnTo>
                  <a:pt x="519301" y="160338"/>
                </a:lnTo>
                <a:close/>
                <a:moveTo>
                  <a:pt x="1699693" y="111125"/>
                </a:moveTo>
                <a:lnTo>
                  <a:pt x="1718770" y="131377"/>
                </a:lnTo>
                <a:lnTo>
                  <a:pt x="1740628" y="154806"/>
                </a:lnTo>
                <a:lnTo>
                  <a:pt x="1768448" y="186178"/>
                </a:lnTo>
                <a:lnTo>
                  <a:pt x="1784345" y="204842"/>
                </a:lnTo>
                <a:lnTo>
                  <a:pt x="1801832" y="224697"/>
                </a:lnTo>
                <a:lnTo>
                  <a:pt x="1819318" y="246538"/>
                </a:lnTo>
                <a:lnTo>
                  <a:pt x="1838395" y="269173"/>
                </a:lnTo>
                <a:lnTo>
                  <a:pt x="1857471" y="293793"/>
                </a:lnTo>
                <a:lnTo>
                  <a:pt x="1877343" y="318811"/>
                </a:lnTo>
                <a:lnTo>
                  <a:pt x="1897611" y="345417"/>
                </a:lnTo>
                <a:lnTo>
                  <a:pt x="1917483" y="372420"/>
                </a:lnTo>
                <a:lnTo>
                  <a:pt x="1936956" y="400217"/>
                </a:lnTo>
                <a:lnTo>
                  <a:pt x="1954841" y="426823"/>
                </a:lnTo>
                <a:lnTo>
                  <a:pt x="1971930" y="453032"/>
                </a:lnTo>
                <a:lnTo>
                  <a:pt x="1987032" y="478050"/>
                </a:lnTo>
                <a:lnTo>
                  <a:pt x="2001339" y="501479"/>
                </a:lnTo>
                <a:lnTo>
                  <a:pt x="2014057" y="524511"/>
                </a:lnTo>
                <a:lnTo>
                  <a:pt x="2025980" y="545558"/>
                </a:lnTo>
                <a:lnTo>
                  <a:pt x="2036313" y="565016"/>
                </a:lnTo>
                <a:lnTo>
                  <a:pt x="2045454" y="582488"/>
                </a:lnTo>
                <a:lnTo>
                  <a:pt x="2053402" y="598770"/>
                </a:lnTo>
                <a:lnTo>
                  <a:pt x="2065325" y="623787"/>
                </a:lnTo>
                <a:lnTo>
                  <a:pt x="2072479" y="640069"/>
                </a:lnTo>
                <a:lnTo>
                  <a:pt x="2074863" y="646025"/>
                </a:lnTo>
                <a:lnTo>
                  <a:pt x="1870189" y="796925"/>
                </a:lnTo>
                <a:lnTo>
                  <a:pt x="1867407" y="789380"/>
                </a:lnTo>
                <a:lnTo>
                  <a:pt x="1859856" y="767142"/>
                </a:lnTo>
                <a:lnTo>
                  <a:pt x="1854689" y="751258"/>
                </a:lnTo>
                <a:lnTo>
                  <a:pt x="1847933" y="733388"/>
                </a:lnTo>
                <a:lnTo>
                  <a:pt x="1839985" y="712342"/>
                </a:lnTo>
                <a:lnTo>
                  <a:pt x="1830844" y="690104"/>
                </a:lnTo>
                <a:lnTo>
                  <a:pt x="1820908" y="666278"/>
                </a:lnTo>
                <a:lnTo>
                  <a:pt x="1809383" y="640466"/>
                </a:lnTo>
                <a:lnTo>
                  <a:pt x="1797063" y="614257"/>
                </a:lnTo>
                <a:lnTo>
                  <a:pt x="1783550" y="586857"/>
                </a:lnTo>
                <a:lnTo>
                  <a:pt x="1768845" y="559059"/>
                </a:lnTo>
                <a:lnTo>
                  <a:pt x="1753346" y="531262"/>
                </a:lnTo>
                <a:lnTo>
                  <a:pt x="1744602" y="517363"/>
                </a:lnTo>
                <a:lnTo>
                  <a:pt x="1736256" y="503862"/>
                </a:lnTo>
                <a:lnTo>
                  <a:pt x="1727513" y="490360"/>
                </a:lnTo>
                <a:lnTo>
                  <a:pt x="1718770" y="476859"/>
                </a:lnTo>
                <a:lnTo>
                  <a:pt x="1709232" y="463357"/>
                </a:lnTo>
                <a:lnTo>
                  <a:pt x="1700091" y="450650"/>
                </a:lnTo>
                <a:lnTo>
                  <a:pt x="1690552" y="438339"/>
                </a:lnTo>
                <a:lnTo>
                  <a:pt x="1681014" y="426029"/>
                </a:lnTo>
                <a:lnTo>
                  <a:pt x="1661938" y="403394"/>
                </a:lnTo>
                <a:lnTo>
                  <a:pt x="1643259" y="381951"/>
                </a:lnTo>
                <a:lnTo>
                  <a:pt x="1624977" y="362095"/>
                </a:lnTo>
                <a:lnTo>
                  <a:pt x="1606696" y="343431"/>
                </a:lnTo>
                <a:lnTo>
                  <a:pt x="1590004" y="327150"/>
                </a:lnTo>
                <a:lnTo>
                  <a:pt x="1573312" y="311663"/>
                </a:lnTo>
                <a:lnTo>
                  <a:pt x="1558210" y="298559"/>
                </a:lnTo>
                <a:lnTo>
                  <a:pt x="1544697" y="287042"/>
                </a:lnTo>
                <a:lnTo>
                  <a:pt x="1532377" y="276718"/>
                </a:lnTo>
                <a:lnTo>
                  <a:pt x="1522044" y="268776"/>
                </a:lnTo>
                <a:lnTo>
                  <a:pt x="1506942" y="257657"/>
                </a:lnTo>
                <a:lnTo>
                  <a:pt x="1501775" y="254083"/>
                </a:lnTo>
                <a:lnTo>
                  <a:pt x="1699693" y="111125"/>
                </a:lnTo>
                <a:close/>
                <a:moveTo>
                  <a:pt x="529828" y="78646"/>
                </a:moveTo>
                <a:lnTo>
                  <a:pt x="511572" y="88179"/>
                </a:lnTo>
                <a:lnTo>
                  <a:pt x="489347" y="100889"/>
                </a:lnTo>
                <a:lnTo>
                  <a:pt x="476647" y="108436"/>
                </a:lnTo>
                <a:lnTo>
                  <a:pt x="463153" y="116777"/>
                </a:lnTo>
                <a:lnTo>
                  <a:pt x="448865" y="126310"/>
                </a:lnTo>
                <a:lnTo>
                  <a:pt x="433784" y="136240"/>
                </a:lnTo>
                <a:lnTo>
                  <a:pt x="417512" y="147759"/>
                </a:lnTo>
                <a:lnTo>
                  <a:pt x="401637" y="159675"/>
                </a:lnTo>
                <a:lnTo>
                  <a:pt x="384175" y="172783"/>
                </a:lnTo>
                <a:lnTo>
                  <a:pt x="367109" y="186288"/>
                </a:lnTo>
                <a:lnTo>
                  <a:pt x="349250" y="200984"/>
                </a:lnTo>
                <a:lnTo>
                  <a:pt x="331787" y="216475"/>
                </a:lnTo>
                <a:lnTo>
                  <a:pt x="313531" y="233157"/>
                </a:lnTo>
                <a:lnTo>
                  <a:pt x="294878" y="250634"/>
                </a:lnTo>
                <a:lnTo>
                  <a:pt x="277019" y="268905"/>
                </a:lnTo>
                <a:lnTo>
                  <a:pt x="259159" y="287177"/>
                </a:lnTo>
                <a:lnTo>
                  <a:pt x="225028" y="322528"/>
                </a:lnTo>
                <a:lnTo>
                  <a:pt x="193278" y="356687"/>
                </a:lnTo>
                <a:lnTo>
                  <a:pt x="164703" y="389257"/>
                </a:lnTo>
                <a:lnTo>
                  <a:pt x="138906" y="419445"/>
                </a:lnTo>
                <a:lnTo>
                  <a:pt x="116284" y="446057"/>
                </a:lnTo>
                <a:lnTo>
                  <a:pt x="97234" y="469095"/>
                </a:lnTo>
                <a:lnTo>
                  <a:pt x="82550" y="488161"/>
                </a:lnTo>
                <a:lnTo>
                  <a:pt x="205184" y="612882"/>
                </a:lnTo>
                <a:lnTo>
                  <a:pt x="213915" y="597391"/>
                </a:lnTo>
                <a:lnTo>
                  <a:pt x="224631" y="581106"/>
                </a:lnTo>
                <a:lnTo>
                  <a:pt x="236934" y="562437"/>
                </a:lnTo>
                <a:lnTo>
                  <a:pt x="250428" y="542974"/>
                </a:lnTo>
                <a:lnTo>
                  <a:pt x="256381" y="531456"/>
                </a:lnTo>
                <a:lnTo>
                  <a:pt x="260350" y="524306"/>
                </a:lnTo>
                <a:lnTo>
                  <a:pt x="265112" y="515965"/>
                </a:lnTo>
                <a:lnTo>
                  <a:pt x="270669" y="507623"/>
                </a:lnTo>
                <a:lnTo>
                  <a:pt x="277019" y="498885"/>
                </a:lnTo>
                <a:lnTo>
                  <a:pt x="284162" y="488558"/>
                </a:lnTo>
                <a:lnTo>
                  <a:pt x="292100" y="478628"/>
                </a:lnTo>
                <a:lnTo>
                  <a:pt x="301228" y="467506"/>
                </a:lnTo>
                <a:lnTo>
                  <a:pt x="311547" y="456385"/>
                </a:lnTo>
                <a:lnTo>
                  <a:pt x="322262" y="444071"/>
                </a:lnTo>
                <a:lnTo>
                  <a:pt x="334565" y="431758"/>
                </a:lnTo>
                <a:lnTo>
                  <a:pt x="348059" y="418650"/>
                </a:lnTo>
                <a:lnTo>
                  <a:pt x="362347" y="405543"/>
                </a:lnTo>
                <a:lnTo>
                  <a:pt x="378619" y="391641"/>
                </a:lnTo>
                <a:lnTo>
                  <a:pt x="395684" y="377739"/>
                </a:lnTo>
                <a:lnTo>
                  <a:pt x="413147" y="362248"/>
                </a:lnTo>
                <a:lnTo>
                  <a:pt x="430609" y="347154"/>
                </a:lnTo>
                <a:lnTo>
                  <a:pt x="448469" y="332855"/>
                </a:lnTo>
                <a:lnTo>
                  <a:pt x="466328" y="318953"/>
                </a:lnTo>
                <a:lnTo>
                  <a:pt x="484188" y="305448"/>
                </a:lnTo>
                <a:lnTo>
                  <a:pt x="502047" y="292737"/>
                </a:lnTo>
                <a:lnTo>
                  <a:pt x="519510" y="280821"/>
                </a:lnTo>
                <a:lnTo>
                  <a:pt x="536972" y="268905"/>
                </a:lnTo>
                <a:lnTo>
                  <a:pt x="553641" y="257784"/>
                </a:lnTo>
                <a:lnTo>
                  <a:pt x="570310" y="247457"/>
                </a:lnTo>
                <a:lnTo>
                  <a:pt x="601663" y="228391"/>
                </a:lnTo>
                <a:lnTo>
                  <a:pt x="629841" y="212106"/>
                </a:lnTo>
                <a:lnTo>
                  <a:pt x="654050" y="198601"/>
                </a:lnTo>
                <a:lnTo>
                  <a:pt x="529828" y="78646"/>
                </a:lnTo>
                <a:close/>
                <a:moveTo>
                  <a:pt x="537766" y="0"/>
                </a:moveTo>
                <a:lnTo>
                  <a:pt x="542925" y="794"/>
                </a:lnTo>
                <a:lnTo>
                  <a:pt x="548085" y="2383"/>
                </a:lnTo>
                <a:lnTo>
                  <a:pt x="552450" y="4369"/>
                </a:lnTo>
                <a:lnTo>
                  <a:pt x="557213" y="6752"/>
                </a:lnTo>
                <a:lnTo>
                  <a:pt x="561181" y="10327"/>
                </a:lnTo>
                <a:lnTo>
                  <a:pt x="738981" y="181521"/>
                </a:lnTo>
                <a:lnTo>
                  <a:pt x="741760" y="185096"/>
                </a:lnTo>
                <a:lnTo>
                  <a:pt x="744538" y="188274"/>
                </a:lnTo>
                <a:lnTo>
                  <a:pt x="746522" y="192246"/>
                </a:lnTo>
                <a:lnTo>
                  <a:pt x="748110" y="195820"/>
                </a:lnTo>
                <a:lnTo>
                  <a:pt x="748903" y="200190"/>
                </a:lnTo>
                <a:lnTo>
                  <a:pt x="749697" y="204162"/>
                </a:lnTo>
                <a:lnTo>
                  <a:pt x="749697" y="208531"/>
                </a:lnTo>
                <a:lnTo>
                  <a:pt x="749300" y="213297"/>
                </a:lnTo>
                <a:lnTo>
                  <a:pt x="748506" y="217269"/>
                </a:lnTo>
                <a:lnTo>
                  <a:pt x="746919" y="221241"/>
                </a:lnTo>
                <a:lnTo>
                  <a:pt x="745331" y="224816"/>
                </a:lnTo>
                <a:lnTo>
                  <a:pt x="742553" y="228788"/>
                </a:lnTo>
                <a:lnTo>
                  <a:pt x="740172" y="231568"/>
                </a:lnTo>
                <a:lnTo>
                  <a:pt x="736600" y="234746"/>
                </a:lnTo>
                <a:lnTo>
                  <a:pt x="733425" y="237129"/>
                </a:lnTo>
                <a:lnTo>
                  <a:pt x="729456" y="239512"/>
                </a:lnTo>
                <a:lnTo>
                  <a:pt x="722710" y="242690"/>
                </a:lnTo>
                <a:lnTo>
                  <a:pt x="705247" y="251429"/>
                </a:lnTo>
                <a:lnTo>
                  <a:pt x="776685" y="295915"/>
                </a:lnTo>
                <a:lnTo>
                  <a:pt x="813594" y="318953"/>
                </a:lnTo>
                <a:lnTo>
                  <a:pt x="843756" y="338416"/>
                </a:lnTo>
                <a:lnTo>
                  <a:pt x="855266" y="332458"/>
                </a:lnTo>
                <a:lnTo>
                  <a:pt x="867569" y="326500"/>
                </a:lnTo>
                <a:lnTo>
                  <a:pt x="879872" y="321733"/>
                </a:lnTo>
                <a:lnTo>
                  <a:pt x="892175" y="317364"/>
                </a:lnTo>
                <a:lnTo>
                  <a:pt x="905669" y="312995"/>
                </a:lnTo>
                <a:lnTo>
                  <a:pt x="919163" y="309817"/>
                </a:lnTo>
                <a:lnTo>
                  <a:pt x="933847" y="307037"/>
                </a:lnTo>
                <a:lnTo>
                  <a:pt x="948135" y="304256"/>
                </a:lnTo>
                <a:lnTo>
                  <a:pt x="970756" y="301873"/>
                </a:lnTo>
                <a:lnTo>
                  <a:pt x="992188" y="300284"/>
                </a:lnTo>
                <a:lnTo>
                  <a:pt x="1013222" y="299093"/>
                </a:lnTo>
                <a:lnTo>
                  <a:pt x="1033066" y="298696"/>
                </a:lnTo>
                <a:lnTo>
                  <a:pt x="1052513" y="299490"/>
                </a:lnTo>
                <a:lnTo>
                  <a:pt x="1070769" y="301079"/>
                </a:lnTo>
                <a:lnTo>
                  <a:pt x="1088231" y="302668"/>
                </a:lnTo>
                <a:lnTo>
                  <a:pt x="1105297" y="305051"/>
                </a:lnTo>
                <a:lnTo>
                  <a:pt x="1121172" y="308228"/>
                </a:lnTo>
                <a:lnTo>
                  <a:pt x="1137047" y="311803"/>
                </a:lnTo>
                <a:lnTo>
                  <a:pt x="1151731" y="315775"/>
                </a:lnTo>
                <a:lnTo>
                  <a:pt x="1165622" y="320542"/>
                </a:lnTo>
                <a:lnTo>
                  <a:pt x="1179116" y="324911"/>
                </a:lnTo>
                <a:lnTo>
                  <a:pt x="1191816" y="329677"/>
                </a:lnTo>
                <a:lnTo>
                  <a:pt x="1203722" y="335238"/>
                </a:lnTo>
                <a:lnTo>
                  <a:pt x="1215231" y="340004"/>
                </a:lnTo>
                <a:lnTo>
                  <a:pt x="1226741" y="345565"/>
                </a:lnTo>
                <a:lnTo>
                  <a:pt x="1237060" y="351126"/>
                </a:lnTo>
                <a:lnTo>
                  <a:pt x="1256506" y="362645"/>
                </a:lnTo>
                <a:lnTo>
                  <a:pt x="1274366" y="372972"/>
                </a:lnTo>
                <a:lnTo>
                  <a:pt x="1289844" y="382902"/>
                </a:lnTo>
                <a:lnTo>
                  <a:pt x="1304131" y="391641"/>
                </a:lnTo>
                <a:lnTo>
                  <a:pt x="1310878" y="395613"/>
                </a:lnTo>
                <a:lnTo>
                  <a:pt x="1317228" y="398790"/>
                </a:lnTo>
                <a:lnTo>
                  <a:pt x="1323578" y="401968"/>
                </a:lnTo>
                <a:lnTo>
                  <a:pt x="1329135" y="403954"/>
                </a:lnTo>
                <a:lnTo>
                  <a:pt x="1334691" y="405543"/>
                </a:lnTo>
                <a:lnTo>
                  <a:pt x="1340247" y="406337"/>
                </a:lnTo>
                <a:lnTo>
                  <a:pt x="1345406" y="407132"/>
                </a:lnTo>
                <a:lnTo>
                  <a:pt x="1351360" y="407132"/>
                </a:lnTo>
                <a:lnTo>
                  <a:pt x="1358106" y="406734"/>
                </a:lnTo>
                <a:lnTo>
                  <a:pt x="1364853" y="406337"/>
                </a:lnTo>
                <a:lnTo>
                  <a:pt x="1379538" y="404351"/>
                </a:lnTo>
                <a:lnTo>
                  <a:pt x="1395810" y="401173"/>
                </a:lnTo>
                <a:lnTo>
                  <a:pt x="1412081" y="397201"/>
                </a:lnTo>
                <a:lnTo>
                  <a:pt x="1429544" y="392832"/>
                </a:lnTo>
                <a:lnTo>
                  <a:pt x="1446610" y="387669"/>
                </a:lnTo>
                <a:lnTo>
                  <a:pt x="1463675" y="382505"/>
                </a:lnTo>
                <a:lnTo>
                  <a:pt x="1494631" y="371781"/>
                </a:lnTo>
                <a:lnTo>
                  <a:pt x="1520825" y="362645"/>
                </a:lnTo>
                <a:lnTo>
                  <a:pt x="1545035" y="353112"/>
                </a:lnTo>
                <a:lnTo>
                  <a:pt x="1550988" y="357481"/>
                </a:lnTo>
                <a:lnTo>
                  <a:pt x="1557338" y="363439"/>
                </a:lnTo>
                <a:lnTo>
                  <a:pt x="1566069" y="371383"/>
                </a:lnTo>
                <a:lnTo>
                  <a:pt x="1577578" y="382108"/>
                </a:lnTo>
                <a:lnTo>
                  <a:pt x="1589881" y="395215"/>
                </a:lnTo>
                <a:lnTo>
                  <a:pt x="1604963" y="410309"/>
                </a:lnTo>
                <a:lnTo>
                  <a:pt x="1620838" y="428183"/>
                </a:lnTo>
                <a:lnTo>
                  <a:pt x="1638697" y="449235"/>
                </a:lnTo>
                <a:lnTo>
                  <a:pt x="1656953" y="472670"/>
                </a:lnTo>
                <a:lnTo>
                  <a:pt x="1666875" y="485380"/>
                </a:lnTo>
                <a:lnTo>
                  <a:pt x="1676400" y="498885"/>
                </a:lnTo>
                <a:lnTo>
                  <a:pt x="1686719" y="512787"/>
                </a:lnTo>
                <a:lnTo>
                  <a:pt x="1696641" y="527881"/>
                </a:lnTo>
                <a:lnTo>
                  <a:pt x="1707356" y="542974"/>
                </a:lnTo>
                <a:lnTo>
                  <a:pt x="1717675" y="559657"/>
                </a:lnTo>
                <a:lnTo>
                  <a:pt x="1727994" y="576339"/>
                </a:lnTo>
                <a:lnTo>
                  <a:pt x="1738710" y="594213"/>
                </a:lnTo>
                <a:lnTo>
                  <a:pt x="1749425" y="612882"/>
                </a:lnTo>
                <a:lnTo>
                  <a:pt x="1760141" y="632345"/>
                </a:lnTo>
                <a:lnTo>
                  <a:pt x="1770460" y="651808"/>
                </a:lnTo>
                <a:lnTo>
                  <a:pt x="1781175" y="672859"/>
                </a:lnTo>
                <a:lnTo>
                  <a:pt x="1802606" y="715360"/>
                </a:lnTo>
                <a:lnTo>
                  <a:pt x="1810544" y="731645"/>
                </a:lnTo>
                <a:lnTo>
                  <a:pt x="1813322" y="739192"/>
                </a:lnTo>
                <a:lnTo>
                  <a:pt x="1816100" y="745944"/>
                </a:lnTo>
                <a:lnTo>
                  <a:pt x="1817688" y="752300"/>
                </a:lnTo>
                <a:lnTo>
                  <a:pt x="1818878" y="758258"/>
                </a:lnTo>
                <a:lnTo>
                  <a:pt x="1819275" y="764216"/>
                </a:lnTo>
                <a:lnTo>
                  <a:pt x="1819275" y="769379"/>
                </a:lnTo>
                <a:lnTo>
                  <a:pt x="1818481" y="774543"/>
                </a:lnTo>
                <a:lnTo>
                  <a:pt x="1816497" y="778912"/>
                </a:lnTo>
                <a:lnTo>
                  <a:pt x="1814116" y="783679"/>
                </a:lnTo>
                <a:lnTo>
                  <a:pt x="1810544" y="788445"/>
                </a:lnTo>
                <a:lnTo>
                  <a:pt x="1805781" y="792417"/>
                </a:lnTo>
                <a:lnTo>
                  <a:pt x="1801019" y="796786"/>
                </a:lnTo>
                <a:lnTo>
                  <a:pt x="1794272" y="801155"/>
                </a:lnTo>
                <a:lnTo>
                  <a:pt x="1787128" y="805922"/>
                </a:lnTo>
                <a:lnTo>
                  <a:pt x="1778397" y="810688"/>
                </a:lnTo>
                <a:lnTo>
                  <a:pt x="1769269" y="815852"/>
                </a:lnTo>
                <a:lnTo>
                  <a:pt x="1747044" y="826179"/>
                </a:lnTo>
                <a:lnTo>
                  <a:pt x="1720056" y="838492"/>
                </a:lnTo>
                <a:lnTo>
                  <a:pt x="1687910" y="852394"/>
                </a:lnTo>
                <a:lnTo>
                  <a:pt x="1650206" y="868680"/>
                </a:lnTo>
                <a:lnTo>
                  <a:pt x="1607741" y="888142"/>
                </a:lnTo>
                <a:lnTo>
                  <a:pt x="1568450" y="905619"/>
                </a:lnTo>
                <a:lnTo>
                  <a:pt x="1553766" y="911975"/>
                </a:lnTo>
                <a:lnTo>
                  <a:pt x="1541463" y="916344"/>
                </a:lnTo>
                <a:lnTo>
                  <a:pt x="1531144" y="919521"/>
                </a:lnTo>
                <a:lnTo>
                  <a:pt x="1526778" y="920713"/>
                </a:lnTo>
                <a:lnTo>
                  <a:pt x="1522810" y="921507"/>
                </a:lnTo>
                <a:lnTo>
                  <a:pt x="1518841" y="921905"/>
                </a:lnTo>
                <a:lnTo>
                  <a:pt x="1514872" y="921905"/>
                </a:lnTo>
                <a:lnTo>
                  <a:pt x="1511697" y="921507"/>
                </a:lnTo>
                <a:lnTo>
                  <a:pt x="1508522" y="921110"/>
                </a:lnTo>
                <a:lnTo>
                  <a:pt x="1505347" y="920316"/>
                </a:lnTo>
                <a:lnTo>
                  <a:pt x="1502569" y="919521"/>
                </a:lnTo>
                <a:lnTo>
                  <a:pt x="1496219" y="916344"/>
                </a:lnTo>
                <a:lnTo>
                  <a:pt x="1489869" y="912769"/>
                </a:lnTo>
                <a:lnTo>
                  <a:pt x="1482328" y="907605"/>
                </a:lnTo>
                <a:lnTo>
                  <a:pt x="1472803" y="902045"/>
                </a:lnTo>
                <a:lnTo>
                  <a:pt x="1462485" y="895689"/>
                </a:lnTo>
                <a:lnTo>
                  <a:pt x="1449785" y="888540"/>
                </a:lnTo>
                <a:lnTo>
                  <a:pt x="1433910" y="880993"/>
                </a:lnTo>
                <a:lnTo>
                  <a:pt x="1425178" y="876624"/>
                </a:lnTo>
                <a:lnTo>
                  <a:pt x="1415653" y="870666"/>
                </a:lnTo>
                <a:lnTo>
                  <a:pt x="1404541" y="863516"/>
                </a:lnTo>
                <a:lnTo>
                  <a:pt x="1393428" y="854778"/>
                </a:lnTo>
                <a:lnTo>
                  <a:pt x="1381522" y="845642"/>
                </a:lnTo>
                <a:lnTo>
                  <a:pt x="1368822" y="834917"/>
                </a:lnTo>
                <a:lnTo>
                  <a:pt x="1355725" y="823796"/>
                </a:lnTo>
                <a:lnTo>
                  <a:pt x="1342231" y="811483"/>
                </a:lnTo>
                <a:lnTo>
                  <a:pt x="1314053" y="785267"/>
                </a:lnTo>
                <a:lnTo>
                  <a:pt x="1284288" y="757463"/>
                </a:lnTo>
                <a:lnTo>
                  <a:pt x="1254522" y="728468"/>
                </a:lnTo>
                <a:lnTo>
                  <a:pt x="1225153" y="698677"/>
                </a:lnTo>
                <a:lnTo>
                  <a:pt x="1167606" y="642275"/>
                </a:lnTo>
                <a:lnTo>
                  <a:pt x="1141016" y="616457"/>
                </a:lnTo>
                <a:lnTo>
                  <a:pt x="1116806" y="593816"/>
                </a:lnTo>
                <a:lnTo>
                  <a:pt x="1105694" y="583886"/>
                </a:lnTo>
                <a:lnTo>
                  <a:pt x="1094978" y="574751"/>
                </a:lnTo>
                <a:lnTo>
                  <a:pt x="1085453" y="567204"/>
                </a:lnTo>
                <a:lnTo>
                  <a:pt x="1077119" y="560451"/>
                </a:lnTo>
                <a:lnTo>
                  <a:pt x="1069181" y="554890"/>
                </a:lnTo>
                <a:lnTo>
                  <a:pt x="1062435" y="551316"/>
                </a:lnTo>
                <a:lnTo>
                  <a:pt x="1056878" y="548535"/>
                </a:lnTo>
                <a:lnTo>
                  <a:pt x="1054100" y="547741"/>
                </a:lnTo>
                <a:lnTo>
                  <a:pt x="1052116" y="547741"/>
                </a:lnTo>
                <a:lnTo>
                  <a:pt x="1042591" y="547741"/>
                </a:lnTo>
                <a:lnTo>
                  <a:pt x="1028700" y="548535"/>
                </a:lnTo>
                <a:lnTo>
                  <a:pt x="992585" y="550918"/>
                </a:lnTo>
                <a:lnTo>
                  <a:pt x="949325" y="553302"/>
                </a:lnTo>
                <a:lnTo>
                  <a:pt x="902494" y="556479"/>
                </a:lnTo>
                <a:lnTo>
                  <a:pt x="820341" y="562835"/>
                </a:lnTo>
                <a:lnTo>
                  <a:pt x="784622" y="566012"/>
                </a:lnTo>
                <a:lnTo>
                  <a:pt x="760810" y="542180"/>
                </a:lnTo>
                <a:lnTo>
                  <a:pt x="755650" y="532250"/>
                </a:lnTo>
                <a:lnTo>
                  <a:pt x="752078" y="521526"/>
                </a:lnTo>
                <a:lnTo>
                  <a:pt x="748506" y="511596"/>
                </a:lnTo>
                <a:lnTo>
                  <a:pt x="746522" y="500871"/>
                </a:lnTo>
                <a:lnTo>
                  <a:pt x="745331" y="490544"/>
                </a:lnTo>
                <a:lnTo>
                  <a:pt x="744935" y="480217"/>
                </a:lnTo>
                <a:lnTo>
                  <a:pt x="745728" y="470287"/>
                </a:lnTo>
                <a:lnTo>
                  <a:pt x="746919" y="459959"/>
                </a:lnTo>
                <a:lnTo>
                  <a:pt x="748903" y="450029"/>
                </a:lnTo>
                <a:lnTo>
                  <a:pt x="752078" y="440099"/>
                </a:lnTo>
                <a:lnTo>
                  <a:pt x="755650" y="430566"/>
                </a:lnTo>
                <a:lnTo>
                  <a:pt x="760016" y="420636"/>
                </a:lnTo>
                <a:lnTo>
                  <a:pt x="765175" y="411501"/>
                </a:lnTo>
                <a:lnTo>
                  <a:pt x="771128" y="402365"/>
                </a:lnTo>
                <a:lnTo>
                  <a:pt x="777875" y="393229"/>
                </a:lnTo>
                <a:lnTo>
                  <a:pt x="785019" y="384888"/>
                </a:lnTo>
                <a:lnTo>
                  <a:pt x="749697" y="362645"/>
                </a:lnTo>
                <a:lnTo>
                  <a:pt x="711994" y="339210"/>
                </a:lnTo>
                <a:lnTo>
                  <a:pt x="648494" y="300682"/>
                </a:lnTo>
                <a:lnTo>
                  <a:pt x="635000" y="307037"/>
                </a:lnTo>
                <a:lnTo>
                  <a:pt x="617538" y="316172"/>
                </a:lnTo>
                <a:lnTo>
                  <a:pt x="596503" y="327691"/>
                </a:lnTo>
                <a:lnTo>
                  <a:pt x="572294" y="341593"/>
                </a:lnTo>
                <a:lnTo>
                  <a:pt x="545306" y="357879"/>
                </a:lnTo>
                <a:lnTo>
                  <a:pt x="531019" y="367014"/>
                </a:lnTo>
                <a:lnTo>
                  <a:pt x="516335" y="377341"/>
                </a:lnTo>
                <a:lnTo>
                  <a:pt x="500856" y="387669"/>
                </a:lnTo>
                <a:lnTo>
                  <a:pt x="484585" y="399187"/>
                </a:lnTo>
                <a:lnTo>
                  <a:pt x="467915" y="411501"/>
                </a:lnTo>
                <a:lnTo>
                  <a:pt x="450850" y="424211"/>
                </a:lnTo>
                <a:lnTo>
                  <a:pt x="438150" y="434141"/>
                </a:lnTo>
                <a:lnTo>
                  <a:pt x="432990" y="439702"/>
                </a:lnTo>
                <a:lnTo>
                  <a:pt x="415131" y="456782"/>
                </a:lnTo>
                <a:lnTo>
                  <a:pt x="398859" y="473464"/>
                </a:lnTo>
                <a:lnTo>
                  <a:pt x="382984" y="490544"/>
                </a:lnTo>
                <a:lnTo>
                  <a:pt x="368300" y="506829"/>
                </a:lnTo>
                <a:lnTo>
                  <a:pt x="354409" y="523909"/>
                </a:lnTo>
                <a:lnTo>
                  <a:pt x="341312" y="539797"/>
                </a:lnTo>
                <a:lnTo>
                  <a:pt x="329009" y="555685"/>
                </a:lnTo>
                <a:lnTo>
                  <a:pt x="317500" y="570779"/>
                </a:lnTo>
                <a:lnTo>
                  <a:pt x="387350" y="732042"/>
                </a:lnTo>
                <a:lnTo>
                  <a:pt x="401240" y="724098"/>
                </a:lnTo>
                <a:lnTo>
                  <a:pt x="406400" y="721318"/>
                </a:lnTo>
                <a:lnTo>
                  <a:pt x="413147" y="720523"/>
                </a:lnTo>
                <a:lnTo>
                  <a:pt x="419497" y="719729"/>
                </a:lnTo>
                <a:lnTo>
                  <a:pt x="425053" y="719729"/>
                </a:lnTo>
                <a:lnTo>
                  <a:pt x="430609" y="720523"/>
                </a:lnTo>
                <a:lnTo>
                  <a:pt x="436165" y="721715"/>
                </a:lnTo>
                <a:lnTo>
                  <a:pt x="441325" y="722907"/>
                </a:lnTo>
                <a:lnTo>
                  <a:pt x="446484" y="724495"/>
                </a:lnTo>
                <a:lnTo>
                  <a:pt x="450850" y="726482"/>
                </a:lnTo>
                <a:lnTo>
                  <a:pt x="455215" y="729262"/>
                </a:lnTo>
                <a:lnTo>
                  <a:pt x="459581" y="731645"/>
                </a:lnTo>
                <a:lnTo>
                  <a:pt x="463550" y="734823"/>
                </a:lnTo>
                <a:lnTo>
                  <a:pt x="467519" y="738000"/>
                </a:lnTo>
                <a:lnTo>
                  <a:pt x="474265" y="744753"/>
                </a:lnTo>
                <a:lnTo>
                  <a:pt x="481013" y="752300"/>
                </a:lnTo>
                <a:lnTo>
                  <a:pt x="486966" y="759846"/>
                </a:lnTo>
                <a:lnTo>
                  <a:pt x="492125" y="768188"/>
                </a:lnTo>
                <a:lnTo>
                  <a:pt x="502047" y="783281"/>
                </a:lnTo>
                <a:lnTo>
                  <a:pt x="506413" y="790034"/>
                </a:lnTo>
                <a:lnTo>
                  <a:pt x="510778" y="795992"/>
                </a:lnTo>
                <a:lnTo>
                  <a:pt x="515541" y="800361"/>
                </a:lnTo>
                <a:lnTo>
                  <a:pt x="517525" y="802744"/>
                </a:lnTo>
                <a:lnTo>
                  <a:pt x="519510" y="803936"/>
                </a:lnTo>
                <a:lnTo>
                  <a:pt x="525860" y="807511"/>
                </a:lnTo>
                <a:lnTo>
                  <a:pt x="531416" y="811483"/>
                </a:lnTo>
                <a:lnTo>
                  <a:pt x="536972" y="815852"/>
                </a:lnTo>
                <a:lnTo>
                  <a:pt x="541735" y="819427"/>
                </a:lnTo>
                <a:lnTo>
                  <a:pt x="550466" y="827371"/>
                </a:lnTo>
                <a:lnTo>
                  <a:pt x="558006" y="834917"/>
                </a:lnTo>
                <a:lnTo>
                  <a:pt x="564356" y="843259"/>
                </a:lnTo>
                <a:lnTo>
                  <a:pt x="569516" y="850806"/>
                </a:lnTo>
                <a:lnTo>
                  <a:pt x="573881" y="858352"/>
                </a:lnTo>
                <a:lnTo>
                  <a:pt x="577850" y="865899"/>
                </a:lnTo>
                <a:lnTo>
                  <a:pt x="584597" y="879404"/>
                </a:lnTo>
                <a:lnTo>
                  <a:pt x="587375" y="885759"/>
                </a:lnTo>
                <a:lnTo>
                  <a:pt x="590550" y="891717"/>
                </a:lnTo>
                <a:lnTo>
                  <a:pt x="594122" y="896881"/>
                </a:lnTo>
                <a:lnTo>
                  <a:pt x="598091" y="901250"/>
                </a:lnTo>
                <a:lnTo>
                  <a:pt x="602456" y="905619"/>
                </a:lnTo>
                <a:lnTo>
                  <a:pt x="604838" y="907208"/>
                </a:lnTo>
                <a:lnTo>
                  <a:pt x="607616" y="908797"/>
                </a:lnTo>
                <a:lnTo>
                  <a:pt x="613569" y="912372"/>
                </a:lnTo>
                <a:lnTo>
                  <a:pt x="618728" y="915549"/>
                </a:lnTo>
                <a:lnTo>
                  <a:pt x="624285" y="919124"/>
                </a:lnTo>
                <a:lnTo>
                  <a:pt x="629047" y="922699"/>
                </a:lnTo>
                <a:lnTo>
                  <a:pt x="633413" y="926274"/>
                </a:lnTo>
                <a:lnTo>
                  <a:pt x="637778" y="929849"/>
                </a:lnTo>
                <a:lnTo>
                  <a:pt x="645319" y="938190"/>
                </a:lnTo>
                <a:lnTo>
                  <a:pt x="651669" y="946134"/>
                </a:lnTo>
                <a:lnTo>
                  <a:pt x="657622" y="954078"/>
                </a:lnTo>
                <a:lnTo>
                  <a:pt x="661988" y="962022"/>
                </a:lnTo>
                <a:lnTo>
                  <a:pt x="665956" y="969966"/>
                </a:lnTo>
                <a:lnTo>
                  <a:pt x="669528" y="977116"/>
                </a:lnTo>
                <a:lnTo>
                  <a:pt x="671910" y="983868"/>
                </a:lnTo>
                <a:lnTo>
                  <a:pt x="673894" y="990223"/>
                </a:lnTo>
                <a:lnTo>
                  <a:pt x="675085" y="995784"/>
                </a:lnTo>
                <a:lnTo>
                  <a:pt x="677069" y="1003331"/>
                </a:lnTo>
                <a:lnTo>
                  <a:pt x="677466" y="1006509"/>
                </a:lnTo>
                <a:lnTo>
                  <a:pt x="681038" y="1008892"/>
                </a:lnTo>
                <a:lnTo>
                  <a:pt x="691356" y="1016439"/>
                </a:lnTo>
                <a:lnTo>
                  <a:pt x="698103" y="1021999"/>
                </a:lnTo>
                <a:lnTo>
                  <a:pt x="705644" y="1028752"/>
                </a:lnTo>
                <a:lnTo>
                  <a:pt x="713185" y="1036299"/>
                </a:lnTo>
                <a:lnTo>
                  <a:pt x="721519" y="1045037"/>
                </a:lnTo>
                <a:lnTo>
                  <a:pt x="729456" y="1055364"/>
                </a:lnTo>
                <a:lnTo>
                  <a:pt x="733425" y="1060925"/>
                </a:lnTo>
                <a:lnTo>
                  <a:pt x="737394" y="1066486"/>
                </a:lnTo>
                <a:lnTo>
                  <a:pt x="740966" y="1072047"/>
                </a:lnTo>
                <a:lnTo>
                  <a:pt x="744538" y="1078005"/>
                </a:lnTo>
                <a:lnTo>
                  <a:pt x="747316" y="1084757"/>
                </a:lnTo>
                <a:lnTo>
                  <a:pt x="750094" y="1091112"/>
                </a:lnTo>
                <a:lnTo>
                  <a:pt x="753269" y="1097865"/>
                </a:lnTo>
                <a:lnTo>
                  <a:pt x="755253" y="1105014"/>
                </a:lnTo>
                <a:lnTo>
                  <a:pt x="757635" y="1112164"/>
                </a:lnTo>
                <a:lnTo>
                  <a:pt x="759222" y="1120108"/>
                </a:lnTo>
                <a:lnTo>
                  <a:pt x="760016" y="1128052"/>
                </a:lnTo>
                <a:lnTo>
                  <a:pt x="760810" y="1135599"/>
                </a:lnTo>
                <a:lnTo>
                  <a:pt x="760810" y="1143940"/>
                </a:lnTo>
                <a:lnTo>
                  <a:pt x="760413" y="1152281"/>
                </a:lnTo>
                <a:lnTo>
                  <a:pt x="760016" y="1157048"/>
                </a:lnTo>
                <a:lnTo>
                  <a:pt x="759222" y="1162211"/>
                </a:lnTo>
                <a:lnTo>
                  <a:pt x="756841" y="1171347"/>
                </a:lnTo>
                <a:lnTo>
                  <a:pt x="753666" y="1181277"/>
                </a:lnTo>
                <a:lnTo>
                  <a:pt x="749697" y="1190016"/>
                </a:lnTo>
                <a:lnTo>
                  <a:pt x="744935" y="1199151"/>
                </a:lnTo>
                <a:lnTo>
                  <a:pt x="739378" y="1207492"/>
                </a:lnTo>
                <a:lnTo>
                  <a:pt x="733028" y="1216628"/>
                </a:lnTo>
                <a:lnTo>
                  <a:pt x="726281" y="1224572"/>
                </a:lnTo>
                <a:lnTo>
                  <a:pt x="864394" y="1334200"/>
                </a:lnTo>
                <a:lnTo>
                  <a:pt x="871538" y="1340158"/>
                </a:lnTo>
                <a:lnTo>
                  <a:pt x="871935" y="1340555"/>
                </a:lnTo>
                <a:lnTo>
                  <a:pt x="872728" y="1340555"/>
                </a:lnTo>
                <a:lnTo>
                  <a:pt x="891381" y="1356046"/>
                </a:lnTo>
                <a:lnTo>
                  <a:pt x="908050" y="1369153"/>
                </a:lnTo>
                <a:lnTo>
                  <a:pt x="915194" y="1374317"/>
                </a:lnTo>
                <a:lnTo>
                  <a:pt x="921941" y="1379083"/>
                </a:lnTo>
                <a:lnTo>
                  <a:pt x="927894" y="1382658"/>
                </a:lnTo>
                <a:lnTo>
                  <a:pt x="933847" y="1386233"/>
                </a:lnTo>
                <a:lnTo>
                  <a:pt x="939006" y="1388219"/>
                </a:lnTo>
                <a:lnTo>
                  <a:pt x="944563" y="1389808"/>
                </a:lnTo>
                <a:lnTo>
                  <a:pt x="949722" y="1390205"/>
                </a:lnTo>
                <a:lnTo>
                  <a:pt x="954881" y="1390205"/>
                </a:lnTo>
                <a:lnTo>
                  <a:pt x="960041" y="1389411"/>
                </a:lnTo>
                <a:lnTo>
                  <a:pt x="965200" y="1387822"/>
                </a:lnTo>
                <a:lnTo>
                  <a:pt x="971153" y="1385041"/>
                </a:lnTo>
                <a:lnTo>
                  <a:pt x="977106" y="1381467"/>
                </a:lnTo>
                <a:lnTo>
                  <a:pt x="983456" y="1376700"/>
                </a:lnTo>
                <a:lnTo>
                  <a:pt x="990203" y="1371934"/>
                </a:lnTo>
                <a:lnTo>
                  <a:pt x="994966" y="1367962"/>
                </a:lnTo>
                <a:lnTo>
                  <a:pt x="998538" y="1364387"/>
                </a:lnTo>
                <a:lnTo>
                  <a:pt x="1002506" y="1360415"/>
                </a:lnTo>
                <a:lnTo>
                  <a:pt x="1005285" y="1356443"/>
                </a:lnTo>
                <a:lnTo>
                  <a:pt x="1008063" y="1353265"/>
                </a:lnTo>
                <a:lnTo>
                  <a:pt x="1009650" y="1349691"/>
                </a:lnTo>
                <a:lnTo>
                  <a:pt x="1010841" y="1346513"/>
                </a:lnTo>
                <a:lnTo>
                  <a:pt x="1011238" y="1343732"/>
                </a:lnTo>
                <a:lnTo>
                  <a:pt x="1011238" y="1341746"/>
                </a:lnTo>
                <a:lnTo>
                  <a:pt x="1010841" y="1339760"/>
                </a:lnTo>
                <a:lnTo>
                  <a:pt x="1009650" y="1336980"/>
                </a:lnTo>
                <a:lnTo>
                  <a:pt x="1008460" y="1334994"/>
                </a:lnTo>
                <a:lnTo>
                  <a:pt x="1007269" y="1334200"/>
                </a:lnTo>
                <a:lnTo>
                  <a:pt x="972344" y="1296466"/>
                </a:lnTo>
                <a:lnTo>
                  <a:pt x="846138" y="1173333"/>
                </a:lnTo>
                <a:lnTo>
                  <a:pt x="843756" y="1170950"/>
                </a:lnTo>
                <a:lnTo>
                  <a:pt x="841772" y="1168169"/>
                </a:lnTo>
                <a:lnTo>
                  <a:pt x="839788" y="1164992"/>
                </a:lnTo>
                <a:lnTo>
                  <a:pt x="838200" y="1162211"/>
                </a:lnTo>
                <a:lnTo>
                  <a:pt x="837010" y="1158637"/>
                </a:lnTo>
                <a:lnTo>
                  <a:pt x="836216" y="1155856"/>
                </a:lnTo>
                <a:lnTo>
                  <a:pt x="835819" y="1152281"/>
                </a:lnTo>
                <a:lnTo>
                  <a:pt x="835422" y="1149104"/>
                </a:lnTo>
                <a:lnTo>
                  <a:pt x="835819" y="1145529"/>
                </a:lnTo>
                <a:lnTo>
                  <a:pt x="836216" y="1142351"/>
                </a:lnTo>
                <a:lnTo>
                  <a:pt x="836613" y="1138777"/>
                </a:lnTo>
                <a:lnTo>
                  <a:pt x="837803" y="1135996"/>
                </a:lnTo>
                <a:lnTo>
                  <a:pt x="839391" y="1132421"/>
                </a:lnTo>
                <a:lnTo>
                  <a:pt x="840978" y="1129641"/>
                </a:lnTo>
                <a:lnTo>
                  <a:pt x="842963" y="1126861"/>
                </a:lnTo>
                <a:lnTo>
                  <a:pt x="845741" y="1124080"/>
                </a:lnTo>
                <a:lnTo>
                  <a:pt x="848122" y="1121697"/>
                </a:lnTo>
                <a:lnTo>
                  <a:pt x="850900" y="1119314"/>
                </a:lnTo>
                <a:lnTo>
                  <a:pt x="854075" y="1117725"/>
                </a:lnTo>
                <a:lnTo>
                  <a:pt x="856853" y="1116136"/>
                </a:lnTo>
                <a:lnTo>
                  <a:pt x="860028" y="1115342"/>
                </a:lnTo>
                <a:lnTo>
                  <a:pt x="863203" y="1114547"/>
                </a:lnTo>
                <a:lnTo>
                  <a:pt x="866775" y="1113753"/>
                </a:lnTo>
                <a:lnTo>
                  <a:pt x="869950" y="1113753"/>
                </a:lnTo>
                <a:lnTo>
                  <a:pt x="873522" y="1113753"/>
                </a:lnTo>
                <a:lnTo>
                  <a:pt x="876697" y="1114150"/>
                </a:lnTo>
                <a:lnTo>
                  <a:pt x="879872" y="1114944"/>
                </a:lnTo>
                <a:lnTo>
                  <a:pt x="883047" y="1116136"/>
                </a:lnTo>
                <a:lnTo>
                  <a:pt x="886222" y="1117328"/>
                </a:lnTo>
                <a:lnTo>
                  <a:pt x="889000" y="1118916"/>
                </a:lnTo>
                <a:lnTo>
                  <a:pt x="891778" y="1121300"/>
                </a:lnTo>
                <a:lnTo>
                  <a:pt x="894953" y="1123286"/>
                </a:lnTo>
                <a:lnTo>
                  <a:pt x="1063625" y="1287330"/>
                </a:lnTo>
                <a:lnTo>
                  <a:pt x="1063625" y="1286933"/>
                </a:lnTo>
                <a:lnTo>
                  <a:pt x="1071563" y="1294877"/>
                </a:lnTo>
                <a:lnTo>
                  <a:pt x="1073944" y="1298054"/>
                </a:lnTo>
                <a:lnTo>
                  <a:pt x="1092200" y="1315531"/>
                </a:lnTo>
                <a:lnTo>
                  <a:pt x="1110060" y="1332611"/>
                </a:lnTo>
                <a:lnTo>
                  <a:pt x="1117203" y="1339760"/>
                </a:lnTo>
                <a:lnTo>
                  <a:pt x="1123950" y="1345718"/>
                </a:lnTo>
                <a:lnTo>
                  <a:pt x="1130300" y="1350485"/>
                </a:lnTo>
                <a:lnTo>
                  <a:pt x="1135460" y="1354060"/>
                </a:lnTo>
                <a:lnTo>
                  <a:pt x="1141016" y="1356443"/>
                </a:lnTo>
                <a:lnTo>
                  <a:pt x="1145778" y="1358429"/>
                </a:lnTo>
                <a:lnTo>
                  <a:pt x="1150938" y="1359223"/>
                </a:lnTo>
                <a:lnTo>
                  <a:pt x="1155303" y="1358826"/>
                </a:lnTo>
                <a:lnTo>
                  <a:pt x="1160066" y="1357635"/>
                </a:lnTo>
                <a:lnTo>
                  <a:pt x="1164828" y="1354854"/>
                </a:lnTo>
                <a:lnTo>
                  <a:pt x="1169591" y="1351677"/>
                </a:lnTo>
                <a:lnTo>
                  <a:pt x="1175147" y="1347307"/>
                </a:lnTo>
                <a:lnTo>
                  <a:pt x="1181100" y="1341746"/>
                </a:lnTo>
                <a:lnTo>
                  <a:pt x="1187847" y="1335788"/>
                </a:lnTo>
                <a:lnTo>
                  <a:pt x="1193403" y="1330228"/>
                </a:lnTo>
                <a:lnTo>
                  <a:pt x="1198166" y="1324667"/>
                </a:lnTo>
                <a:lnTo>
                  <a:pt x="1201738" y="1319106"/>
                </a:lnTo>
                <a:lnTo>
                  <a:pt x="1205310" y="1313942"/>
                </a:lnTo>
                <a:lnTo>
                  <a:pt x="1207294" y="1309176"/>
                </a:lnTo>
                <a:lnTo>
                  <a:pt x="1209278" y="1304807"/>
                </a:lnTo>
                <a:lnTo>
                  <a:pt x="1210469" y="1300835"/>
                </a:lnTo>
                <a:lnTo>
                  <a:pt x="1211263" y="1297260"/>
                </a:lnTo>
                <a:lnTo>
                  <a:pt x="1211660" y="1293288"/>
                </a:lnTo>
                <a:lnTo>
                  <a:pt x="1211660" y="1290507"/>
                </a:lnTo>
                <a:lnTo>
                  <a:pt x="1211263" y="1287330"/>
                </a:lnTo>
                <a:lnTo>
                  <a:pt x="1210072" y="1284947"/>
                </a:lnTo>
                <a:lnTo>
                  <a:pt x="1208485" y="1280180"/>
                </a:lnTo>
                <a:lnTo>
                  <a:pt x="1206897" y="1277400"/>
                </a:lnTo>
                <a:lnTo>
                  <a:pt x="1161653" y="1233310"/>
                </a:lnTo>
                <a:lnTo>
                  <a:pt x="1159272" y="1230530"/>
                </a:lnTo>
                <a:lnTo>
                  <a:pt x="1156494" y="1227352"/>
                </a:lnTo>
                <a:lnTo>
                  <a:pt x="1154906" y="1224175"/>
                </a:lnTo>
                <a:lnTo>
                  <a:pt x="1153319" y="1220600"/>
                </a:lnTo>
                <a:lnTo>
                  <a:pt x="927894" y="1004920"/>
                </a:lnTo>
                <a:lnTo>
                  <a:pt x="925116" y="1002139"/>
                </a:lnTo>
                <a:lnTo>
                  <a:pt x="923131" y="999359"/>
                </a:lnTo>
                <a:lnTo>
                  <a:pt x="921544" y="996181"/>
                </a:lnTo>
                <a:lnTo>
                  <a:pt x="919560" y="993401"/>
                </a:lnTo>
                <a:lnTo>
                  <a:pt x="918369" y="989826"/>
                </a:lnTo>
                <a:lnTo>
                  <a:pt x="917575" y="986648"/>
                </a:lnTo>
                <a:lnTo>
                  <a:pt x="917178" y="983074"/>
                </a:lnTo>
                <a:lnTo>
                  <a:pt x="916781" y="979896"/>
                </a:lnTo>
                <a:lnTo>
                  <a:pt x="916781" y="976321"/>
                </a:lnTo>
                <a:lnTo>
                  <a:pt x="917178" y="973144"/>
                </a:lnTo>
                <a:lnTo>
                  <a:pt x="917972" y="969569"/>
                </a:lnTo>
                <a:lnTo>
                  <a:pt x="919163" y="966391"/>
                </a:lnTo>
                <a:lnTo>
                  <a:pt x="920750" y="962816"/>
                </a:lnTo>
                <a:lnTo>
                  <a:pt x="922338" y="960036"/>
                </a:lnTo>
                <a:lnTo>
                  <a:pt x="924322" y="956858"/>
                </a:lnTo>
                <a:lnTo>
                  <a:pt x="927100" y="954078"/>
                </a:lnTo>
                <a:lnTo>
                  <a:pt x="929481" y="952092"/>
                </a:lnTo>
                <a:lnTo>
                  <a:pt x="932260" y="949311"/>
                </a:lnTo>
                <a:lnTo>
                  <a:pt x="935435" y="947723"/>
                </a:lnTo>
                <a:lnTo>
                  <a:pt x="938213" y="946134"/>
                </a:lnTo>
                <a:lnTo>
                  <a:pt x="941785" y="944942"/>
                </a:lnTo>
                <a:lnTo>
                  <a:pt x="944960" y="944148"/>
                </a:lnTo>
                <a:lnTo>
                  <a:pt x="948531" y="943353"/>
                </a:lnTo>
                <a:lnTo>
                  <a:pt x="951706" y="942956"/>
                </a:lnTo>
                <a:lnTo>
                  <a:pt x="955278" y="942956"/>
                </a:lnTo>
                <a:lnTo>
                  <a:pt x="958453" y="943353"/>
                </a:lnTo>
                <a:lnTo>
                  <a:pt x="962025" y="944545"/>
                </a:lnTo>
                <a:lnTo>
                  <a:pt x="965200" y="945737"/>
                </a:lnTo>
                <a:lnTo>
                  <a:pt x="968772" y="946928"/>
                </a:lnTo>
                <a:lnTo>
                  <a:pt x="971550" y="948517"/>
                </a:lnTo>
                <a:lnTo>
                  <a:pt x="974725" y="950900"/>
                </a:lnTo>
                <a:lnTo>
                  <a:pt x="977503" y="953284"/>
                </a:lnTo>
                <a:lnTo>
                  <a:pt x="1214041" y="1179291"/>
                </a:lnTo>
                <a:lnTo>
                  <a:pt x="1216819" y="1182469"/>
                </a:lnTo>
                <a:lnTo>
                  <a:pt x="1235472" y="1199946"/>
                </a:lnTo>
                <a:lnTo>
                  <a:pt x="1254125" y="1217422"/>
                </a:lnTo>
                <a:lnTo>
                  <a:pt x="1262063" y="1224572"/>
                </a:lnTo>
                <a:lnTo>
                  <a:pt x="1268810" y="1230530"/>
                </a:lnTo>
                <a:lnTo>
                  <a:pt x="1275556" y="1235694"/>
                </a:lnTo>
                <a:lnTo>
                  <a:pt x="1281510" y="1239269"/>
                </a:lnTo>
                <a:lnTo>
                  <a:pt x="1287066" y="1242049"/>
                </a:lnTo>
                <a:lnTo>
                  <a:pt x="1292622" y="1244035"/>
                </a:lnTo>
                <a:lnTo>
                  <a:pt x="1297385" y="1244432"/>
                </a:lnTo>
                <a:lnTo>
                  <a:pt x="1299766" y="1244432"/>
                </a:lnTo>
                <a:lnTo>
                  <a:pt x="1302147" y="1244035"/>
                </a:lnTo>
                <a:lnTo>
                  <a:pt x="1307306" y="1242843"/>
                </a:lnTo>
                <a:lnTo>
                  <a:pt x="1312863" y="1240063"/>
                </a:lnTo>
                <a:lnTo>
                  <a:pt x="1317625" y="1236885"/>
                </a:lnTo>
                <a:lnTo>
                  <a:pt x="1323578" y="1232516"/>
                </a:lnTo>
                <a:lnTo>
                  <a:pt x="1329928" y="1226955"/>
                </a:lnTo>
                <a:lnTo>
                  <a:pt x="1336675" y="1220600"/>
                </a:lnTo>
                <a:lnTo>
                  <a:pt x="1343422" y="1213848"/>
                </a:lnTo>
                <a:lnTo>
                  <a:pt x="1348978" y="1207492"/>
                </a:lnTo>
                <a:lnTo>
                  <a:pt x="1352947" y="1201932"/>
                </a:lnTo>
                <a:lnTo>
                  <a:pt x="1356122" y="1196371"/>
                </a:lnTo>
                <a:lnTo>
                  <a:pt x="1358503" y="1191207"/>
                </a:lnTo>
                <a:lnTo>
                  <a:pt x="1360488" y="1186044"/>
                </a:lnTo>
                <a:lnTo>
                  <a:pt x="1361281" y="1182072"/>
                </a:lnTo>
                <a:lnTo>
                  <a:pt x="1361678" y="1178099"/>
                </a:lnTo>
                <a:lnTo>
                  <a:pt x="1361281" y="1174922"/>
                </a:lnTo>
                <a:lnTo>
                  <a:pt x="1360885" y="1171744"/>
                </a:lnTo>
                <a:lnTo>
                  <a:pt x="1359694" y="1168964"/>
                </a:lnTo>
                <a:lnTo>
                  <a:pt x="1359297" y="1166581"/>
                </a:lnTo>
                <a:lnTo>
                  <a:pt x="1357710" y="1164197"/>
                </a:lnTo>
                <a:lnTo>
                  <a:pt x="1356916" y="1163006"/>
                </a:lnTo>
                <a:lnTo>
                  <a:pt x="1309688" y="1118519"/>
                </a:lnTo>
                <a:lnTo>
                  <a:pt x="1307703" y="1116533"/>
                </a:lnTo>
                <a:lnTo>
                  <a:pt x="1306116" y="1114150"/>
                </a:lnTo>
                <a:lnTo>
                  <a:pt x="1302544" y="1108986"/>
                </a:lnTo>
                <a:lnTo>
                  <a:pt x="1299369" y="1105412"/>
                </a:lnTo>
                <a:lnTo>
                  <a:pt x="1279128" y="1084757"/>
                </a:lnTo>
                <a:lnTo>
                  <a:pt x="1278335" y="1084360"/>
                </a:lnTo>
                <a:lnTo>
                  <a:pt x="1048941" y="854778"/>
                </a:lnTo>
                <a:lnTo>
                  <a:pt x="1046163" y="851997"/>
                </a:lnTo>
                <a:lnTo>
                  <a:pt x="1044178" y="849217"/>
                </a:lnTo>
                <a:lnTo>
                  <a:pt x="1042591" y="846039"/>
                </a:lnTo>
                <a:lnTo>
                  <a:pt x="1041003" y="843259"/>
                </a:lnTo>
                <a:lnTo>
                  <a:pt x="1039813" y="839684"/>
                </a:lnTo>
                <a:lnTo>
                  <a:pt x="1039019" y="836506"/>
                </a:lnTo>
                <a:lnTo>
                  <a:pt x="1038622" y="832931"/>
                </a:lnTo>
                <a:lnTo>
                  <a:pt x="1038622" y="829754"/>
                </a:lnTo>
                <a:lnTo>
                  <a:pt x="1038622" y="826179"/>
                </a:lnTo>
                <a:lnTo>
                  <a:pt x="1039019" y="823001"/>
                </a:lnTo>
                <a:lnTo>
                  <a:pt x="1039813" y="819427"/>
                </a:lnTo>
                <a:lnTo>
                  <a:pt x="1041003" y="816249"/>
                </a:lnTo>
                <a:lnTo>
                  <a:pt x="1042591" y="813071"/>
                </a:lnTo>
                <a:lnTo>
                  <a:pt x="1044178" y="810291"/>
                </a:lnTo>
                <a:lnTo>
                  <a:pt x="1046163" y="807113"/>
                </a:lnTo>
                <a:lnTo>
                  <a:pt x="1048941" y="804730"/>
                </a:lnTo>
                <a:lnTo>
                  <a:pt x="1051719" y="802347"/>
                </a:lnTo>
                <a:lnTo>
                  <a:pt x="1054100" y="799964"/>
                </a:lnTo>
                <a:lnTo>
                  <a:pt x="1057672" y="798375"/>
                </a:lnTo>
                <a:lnTo>
                  <a:pt x="1060450" y="796786"/>
                </a:lnTo>
                <a:lnTo>
                  <a:pt x="1064022" y="795595"/>
                </a:lnTo>
                <a:lnTo>
                  <a:pt x="1067197" y="794800"/>
                </a:lnTo>
                <a:lnTo>
                  <a:pt x="1070769" y="794006"/>
                </a:lnTo>
                <a:lnTo>
                  <a:pt x="1073944" y="794006"/>
                </a:lnTo>
                <a:lnTo>
                  <a:pt x="1077516" y="794006"/>
                </a:lnTo>
                <a:lnTo>
                  <a:pt x="1080691" y="794800"/>
                </a:lnTo>
                <a:lnTo>
                  <a:pt x="1084263" y="795595"/>
                </a:lnTo>
                <a:lnTo>
                  <a:pt x="1087041" y="796786"/>
                </a:lnTo>
                <a:lnTo>
                  <a:pt x="1090613" y="798375"/>
                </a:lnTo>
                <a:lnTo>
                  <a:pt x="1093391" y="799964"/>
                </a:lnTo>
                <a:lnTo>
                  <a:pt x="1096566" y="802347"/>
                </a:lnTo>
                <a:lnTo>
                  <a:pt x="1098947" y="804730"/>
                </a:lnTo>
                <a:lnTo>
                  <a:pt x="1328738" y="1034313"/>
                </a:lnTo>
                <a:lnTo>
                  <a:pt x="1331119" y="1037093"/>
                </a:lnTo>
                <a:lnTo>
                  <a:pt x="1349375" y="1055364"/>
                </a:lnTo>
                <a:lnTo>
                  <a:pt x="1364456" y="1070061"/>
                </a:lnTo>
                <a:lnTo>
                  <a:pt x="1371600" y="1076813"/>
                </a:lnTo>
                <a:lnTo>
                  <a:pt x="1378347" y="1083168"/>
                </a:lnTo>
                <a:lnTo>
                  <a:pt x="1385094" y="1088729"/>
                </a:lnTo>
                <a:lnTo>
                  <a:pt x="1391444" y="1093496"/>
                </a:lnTo>
                <a:lnTo>
                  <a:pt x="1397397" y="1096673"/>
                </a:lnTo>
                <a:lnTo>
                  <a:pt x="1400175" y="1097865"/>
                </a:lnTo>
                <a:lnTo>
                  <a:pt x="1402953" y="1098659"/>
                </a:lnTo>
                <a:lnTo>
                  <a:pt x="1404541" y="1099056"/>
                </a:lnTo>
                <a:lnTo>
                  <a:pt x="1407716" y="1099851"/>
                </a:lnTo>
                <a:lnTo>
                  <a:pt x="1410891" y="1099056"/>
                </a:lnTo>
                <a:lnTo>
                  <a:pt x="1415653" y="1098262"/>
                </a:lnTo>
                <a:lnTo>
                  <a:pt x="1421210" y="1095879"/>
                </a:lnTo>
                <a:lnTo>
                  <a:pt x="1424385" y="1093893"/>
                </a:lnTo>
                <a:lnTo>
                  <a:pt x="1427956" y="1091112"/>
                </a:lnTo>
                <a:lnTo>
                  <a:pt x="1431528" y="1088729"/>
                </a:lnTo>
                <a:lnTo>
                  <a:pt x="1435894" y="1084757"/>
                </a:lnTo>
                <a:lnTo>
                  <a:pt x="1440260" y="1081182"/>
                </a:lnTo>
                <a:lnTo>
                  <a:pt x="1445419" y="1076019"/>
                </a:lnTo>
                <a:lnTo>
                  <a:pt x="1452166" y="1068869"/>
                </a:lnTo>
                <a:lnTo>
                  <a:pt x="1457325" y="1062514"/>
                </a:lnTo>
                <a:lnTo>
                  <a:pt x="1461294" y="1056159"/>
                </a:lnTo>
                <a:lnTo>
                  <a:pt x="1464866" y="1050201"/>
                </a:lnTo>
                <a:lnTo>
                  <a:pt x="1466850" y="1044640"/>
                </a:lnTo>
                <a:lnTo>
                  <a:pt x="1468835" y="1039873"/>
                </a:lnTo>
                <a:lnTo>
                  <a:pt x="1469628" y="1035504"/>
                </a:lnTo>
                <a:lnTo>
                  <a:pt x="1470025" y="1031135"/>
                </a:lnTo>
                <a:lnTo>
                  <a:pt x="1469628" y="1027560"/>
                </a:lnTo>
                <a:lnTo>
                  <a:pt x="1469231" y="1024383"/>
                </a:lnTo>
                <a:lnTo>
                  <a:pt x="1468041" y="1021602"/>
                </a:lnTo>
                <a:lnTo>
                  <a:pt x="1467247" y="1019616"/>
                </a:lnTo>
                <a:lnTo>
                  <a:pt x="1465660" y="1016041"/>
                </a:lnTo>
                <a:lnTo>
                  <a:pt x="1464866" y="1015247"/>
                </a:lnTo>
                <a:lnTo>
                  <a:pt x="1419225" y="969966"/>
                </a:lnTo>
                <a:lnTo>
                  <a:pt x="1416844" y="967583"/>
                </a:lnTo>
                <a:lnTo>
                  <a:pt x="1414860" y="964802"/>
                </a:lnTo>
                <a:lnTo>
                  <a:pt x="1412478" y="961625"/>
                </a:lnTo>
                <a:lnTo>
                  <a:pt x="1411288" y="958447"/>
                </a:lnTo>
                <a:lnTo>
                  <a:pt x="1410097" y="955270"/>
                </a:lnTo>
                <a:lnTo>
                  <a:pt x="1409303" y="952092"/>
                </a:lnTo>
                <a:lnTo>
                  <a:pt x="1408906" y="948517"/>
                </a:lnTo>
                <a:lnTo>
                  <a:pt x="1408510" y="945339"/>
                </a:lnTo>
                <a:lnTo>
                  <a:pt x="1408906" y="941765"/>
                </a:lnTo>
                <a:lnTo>
                  <a:pt x="1409303" y="938587"/>
                </a:lnTo>
                <a:lnTo>
                  <a:pt x="1410097" y="935012"/>
                </a:lnTo>
                <a:lnTo>
                  <a:pt x="1410891" y="931835"/>
                </a:lnTo>
                <a:lnTo>
                  <a:pt x="1412478" y="928657"/>
                </a:lnTo>
                <a:lnTo>
                  <a:pt x="1414463" y="925479"/>
                </a:lnTo>
                <a:lnTo>
                  <a:pt x="1416447" y="922302"/>
                </a:lnTo>
                <a:lnTo>
                  <a:pt x="1418828" y="919919"/>
                </a:lnTo>
                <a:lnTo>
                  <a:pt x="1421606" y="917535"/>
                </a:lnTo>
                <a:lnTo>
                  <a:pt x="1424385" y="915152"/>
                </a:lnTo>
                <a:lnTo>
                  <a:pt x="1427163" y="913563"/>
                </a:lnTo>
                <a:lnTo>
                  <a:pt x="1430338" y="911975"/>
                </a:lnTo>
                <a:lnTo>
                  <a:pt x="1433513" y="910783"/>
                </a:lnTo>
                <a:lnTo>
                  <a:pt x="1437085" y="909989"/>
                </a:lnTo>
                <a:lnTo>
                  <a:pt x="1440260" y="909194"/>
                </a:lnTo>
                <a:lnTo>
                  <a:pt x="1443831" y="909194"/>
                </a:lnTo>
                <a:lnTo>
                  <a:pt x="1447006" y="909194"/>
                </a:lnTo>
                <a:lnTo>
                  <a:pt x="1450578" y="909989"/>
                </a:lnTo>
                <a:lnTo>
                  <a:pt x="1453753" y="910783"/>
                </a:lnTo>
                <a:lnTo>
                  <a:pt x="1457325" y="911975"/>
                </a:lnTo>
                <a:lnTo>
                  <a:pt x="1460103" y="913166"/>
                </a:lnTo>
                <a:lnTo>
                  <a:pt x="1463278" y="914755"/>
                </a:lnTo>
                <a:lnTo>
                  <a:pt x="1466056" y="917138"/>
                </a:lnTo>
                <a:lnTo>
                  <a:pt x="1469231" y="919521"/>
                </a:lnTo>
                <a:lnTo>
                  <a:pt x="1516460" y="966391"/>
                </a:lnTo>
                <a:lnTo>
                  <a:pt x="1520825" y="971952"/>
                </a:lnTo>
                <a:lnTo>
                  <a:pt x="1525191" y="978307"/>
                </a:lnTo>
                <a:lnTo>
                  <a:pt x="1528763" y="985060"/>
                </a:lnTo>
                <a:lnTo>
                  <a:pt x="1532731" y="993004"/>
                </a:lnTo>
                <a:lnTo>
                  <a:pt x="1535510" y="1001345"/>
                </a:lnTo>
                <a:lnTo>
                  <a:pt x="1538288" y="1010481"/>
                </a:lnTo>
                <a:lnTo>
                  <a:pt x="1539875" y="1020411"/>
                </a:lnTo>
                <a:lnTo>
                  <a:pt x="1540272" y="1025574"/>
                </a:lnTo>
                <a:lnTo>
                  <a:pt x="1540272" y="1030738"/>
                </a:lnTo>
                <a:lnTo>
                  <a:pt x="1540272" y="1035901"/>
                </a:lnTo>
                <a:lnTo>
                  <a:pt x="1539875" y="1041462"/>
                </a:lnTo>
                <a:lnTo>
                  <a:pt x="1539478" y="1047023"/>
                </a:lnTo>
                <a:lnTo>
                  <a:pt x="1538685" y="1052981"/>
                </a:lnTo>
                <a:lnTo>
                  <a:pt x="1537494" y="1058145"/>
                </a:lnTo>
                <a:lnTo>
                  <a:pt x="1535510" y="1064103"/>
                </a:lnTo>
                <a:lnTo>
                  <a:pt x="1533525" y="1070061"/>
                </a:lnTo>
                <a:lnTo>
                  <a:pt x="1531144" y="1076416"/>
                </a:lnTo>
                <a:lnTo>
                  <a:pt x="1527969" y="1082374"/>
                </a:lnTo>
                <a:lnTo>
                  <a:pt x="1525191" y="1088729"/>
                </a:lnTo>
                <a:lnTo>
                  <a:pt x="1521222" y="1094687"/>
                </a:lnTo>
                <a:lnTo>
                  <a:pt x="1517253" y="1101042"/>
                </a:lnTo>
                <a:lnTo>
                  <a:pt x="1512491" y="1107398"/>
                </a:lnTo>
                <a:lnTo>
                  <a:pt x="1507331" y="1113753"/>
                </a:lnTo>
                <a:lnTo>
                  <a:pt x="1501775" y="1120108"/>
                </a:lnTo>
                <a:lnTo>
                  <a:pt x="1495822" y="1126066"/>
                </a:lnTo>
                <a:lnTo>
                  <a:pt x="1485900" y="1135599"/>
                </a:lnTo>
                <a:lnTo>
                  <a:pt x="1479550" y="1141160"/>
                </a:lnTo>
                <a:lnTo>
                  <a:pt x="1472010" y="1147118"/>
                </a:lnTo>
                <a:lnTo>
                  <a:pt x="1463675" y="1152679"/>
                </a:lnTo>
                <a:lnTo>
                  <a:pt x="1453753" y="1158239"/>
                </a:lnTo>
                <a:lnTo>
                  <a:pt x="1448991" y="1161020"/>
                </a:lnTo>
                <a:lnTo>
                  <a:pt x="1443435" y="1163403"/>
                </a:lnTo>
                <a:lnTo>
                  <a:pt x="1437878" y="1165389"/>
                </a:lnTo>
                <a:lnTo>
                  <a:pt x="1432322" y="1166978"/>
                </a:lnTo>
                <a:lnTo>
                  <a:pt x="1432719" y="1172539"/>
                </a:lnTo>
                <a:lnTo>
                  <a:pt x="1432719" y="1178497"/>
                </a:lnTo>
                <a:lnTo>
                  <a:pt x="1432719" y="1184852"/>
                </a:lnTo>
                <a:lnTo>
                  <a:pt x="1432322" y="1190810"/>
                </a:lnTo>
                <a:lnTo>
                  <a:pt x="1431131" y="1197165"/>
                </a:lnTo>
                <a:lnTo>
                  <a:pt x="1429941" y="1203520"/>
                </a:lnTo>
                <a:lnTo>
                  <a:pt x="1427956" y="1210273"/>
                </a:lnTo>
                <a:lnTo>
                  <a:pt x="1425575" y="1217025"/>
                </a:lnTo>
                <a:lnTo>
                  <a:pt x="1422797" y="1223778"/>
                </a:lnTo>
                <a:lnTo>
                  <a:pt x="1419225" y="1230530"/>
                </a:lnTo>
                <a:lnTo>
                  <a:pt x="1415653" y="1237283"/>
                </a:lnTo>
                <a:lnTo>
                  <a:pt x="1410891" y="1244432"/>
                </a:lnTo>
                <a:lnTo>
                  <a:pt x="1405731" y="1251185"/>
                </a:lnTo>
                <a:lnTo>
                  <a:pt x="1399778" y="1258334"/>
                </a:lnTo>
                <a:lnTo>
                  <a:pt x="1393428" y="1265484"/>
                </a:lnTo>
                <a:lnTo>
                  <a:pt x="1386285" y="1272633"/>
                </a:lnTo>
                <a:lnTo>
                  <a:pt x="1379935" y="1278194"/>
                </a:lnTo>
                <a:lnTo>
                  <a:pt x="1374378" y="1283755"/>
                </a:lnTo>
                <a:lnTo>
                  <a:pt x="1368028" y="1288124"/>
                </a:lnTo>
                <a:lnTo>
                  <a:pt x="1362075" y="1292891"/>
                </a:lnTo>
                <a:lnTo>
                  <a:pt x="1356519" y="1296863"/>
                </a:lnTo>
                <a:lnTo>
                  <a:pt x="1350566" y="1300040"/>
                </a:lnTo>
                <a:lnTo>
                  <a:pt x="1345010" y="1303615"/>
                </a:lnTo>
                <a:lnTo>
                  <a:pt x="1339453" y="1305998"/>
                </a:lnTo>
                <a:lnTo>
                  <a:pt x="1334294" y="1308382"/>
                </a:lnTo>
                <a:lnTo>
                  <a:pt x="1328738" y="1310765"/>
                </a:lnTo>
                <a:lnTo>
                  <a:pt x="1323181" y="1312354"/>
                </a:lnTo>
                <a:lnTo>
                  <a:pt x="1318022" y="1313545"/>
                </a:lnTo>
                <a:lnTo>
                  <a:pt x="1312863" y="1314737"/>
                </a:lnTo>
                <a:lnTo>
                  <a:pt x="1307703" y="1315134"/>
                </a:lnTo>
                <a:lnTo>
                  <a:pt x="1302544" y="1315531"/>
                </a:lnTo>
                <a:lnTo>
                  <a:pt x="1297781" y="1315928"/>
                </a:lnTo>
                <a:lnTo>
                  <a:pt x="1293019" y="1315531"/>
                </a:lnTo>
                <a:lnTo>
                  <a:pt x="1288256" y="1315134"/>
                </a:lnTo>
                <a:lnTo>
                  <a:pt x="1279128" y="1313545"/>
                </a:lnTo>
                <a:lnTo>
                  <a:pt x="1276747" y="1322284"/>
                </a:lnTo>
                <a:lnTo>
                  <a:pt x="1273969" y="1331022"/>
                </a:lnTo>
                <a:lnTo>
                  <a:pt x="1270000" y="1339760"/>
                </a:lnTo>
                <a:lnTo>
                  <a:pt x="1265635" y="1348499"/>
                </a:lnTo>
                <a:lnTo>
                  <a:pt x="1260078" y="1358032"/>
                </a:lnTo>
                <a:lnTo>
                  <a:pt x="1253331" y="1366770"/>
                </a:lnTo>
                <a:lnTo>
                  <a:pt x="1245394" y="1375906"/>
                </a:lnTo>
                <a:lnTo>
                  <a:pt x="1236266" y="1385439"/>
                </a:lnTo>
                <a:lnTo>
                  <a:pt x="1230313" y="1391397"/>
                </a:lnTo>
                <a:lnTo>
                  <a:pt x="1224756" y="1396163"/>
                </a:lnTo>
                <a:lnTo>
                  <a:pt x="1219200" y="1401327"/>
                </a:lnTo>
                <a:lnTo>
                  <a:pt x="1213247" y="1405696"/>
                </a:lnTo>
                <a:lnTo>
                  <a:pt x="1207691" y="1409271"/>
                </a:lnTo>
                <a:lnTo>
                  <a:pt x="1202135" y="1413243"/>
                </a:lnTo>
                <a:lnTo>
                  <a:pt x="1196578" y="1416023"/>
                </a:lnTo>
                <a:lnTo>
                  <a:pt x="1191419" y="1419201"/>
                </a:lnTo>
                <a:lnTo>
                  <a:pt x="1185863" y="1421584"/>
                </a:lnTo>
                <a:lnTo>
                  <a:pt x="1180703" y="1423173"/>
                </a:lnTo>
                <a:lnTo>
                  <a:pt x="1175544" y="1425159"/>
                </a:lnTo>
                <a:lnTo>
                  <a:pt x="1170781" y="1426748"/>
                </a:lnTo>
                <a:lnTo>
                  <a:pt x="1165622" y="1427542"/>
                </a:lnTo>
                <a:lnTo>
                  <a:pt x="1160463" y="1428336"/>
                </a:lnTo>
                <a:lnTo>
                  <a:pt x="1155700" y="1428734"/>
                </a:lnTo>
                <a:lnTo>
                  <a:pt x="1150938" y="1428734"/>
                </a:lnTo>
                <a:lnTo>
                  <a:pt x="1144588" y="1428734"/>
                </a:lnTo>
                <a:lnTo>
                  <a:pt x="1137841" y="1427939"/>
                </a:lnTo>
                <a:lnTo>
                  <a:pt x="1131491" y="1426748"/>
                </a:lnTo>
                <a:lnTo>
                  <a:pt x="1125538" y="1425159"/>
                </a:lnTo>
                <a:lnTo>
                  <a:pt x="1119188" y="1422776"/>
                </a:lnTo>
                <a:lnTo>
                  <a:pt x="1113235" y="1420392"/>
                </a:lnTo>
                <a:lnTo>
                  <a:pt x="1107281" y="1417215"/>
                </a:lnTo>
                <a:lnTo>
                  <a:pt x="1101725" y="1414037"/>
                </a:lnTo>
                <a:lnTo>
                  <a:pt x="1096566" y="1410462"/>
                </a:lnTo>
                <a:lnTo>
                  <a:pt x="1090613" y="1406888"/>
                </a:lnTo>
                <a:lnTo>
                  <a:pt x="1079897" y="1398943"/>
                </a:lnTo>
                <a:lnTo>
                  <a:pt x="1069975" y="1390205"/>
                </a:lnTo>
                <a:lnTo>
                  <a:pt x="1059656" y="1381069"/>
                </a:lnTo>
                <a:lnTo>
                  <a:pt x="1056878" y="1385836"/>
                </a:lnTo>
                <a:lnTo>
                  <a:pt x="1053703" y="1390205"/>
                </a:lnTo>
                <a:lnTo>
                  <a:pt x="1050131" y="1394971"/>
                </a:lnTo>
                <a:lnTo>
                  <a:pt x="1046163" y="1399738"/>
                </a:lnTo>
                <a:lnTo>
                  <a:pt x="1042194" y="1404107"/>
                </a:lnTo>
                <a:lnTo>
                  <a:pt x="1037431" y="1408874"/>
                </a:lnTo>
                <a:lnTo>
                  <a:pt x="1032669" y="1413640"/>
                </a:lnTo>
                <a:lnTo>
                  <a:pt x="1027113" y="1417612"/>
                </a:lnTo>
                <a:lnTo>
                  <a:pt x="1016794" y="1425953"/>
                </a:lnTo>
                <a:lnTo>
                  <a:pt x="1006475" y="1432706"/>
                </a:lnTo>
                <a:lnTo>
                  <a:pt x="996553" y="1437869"/>
                </a:lnTo>
                <a:lnTo>
                  <a:pt x="986631" y="1442238"/>
                </a:lnTo>
                <a:lnTo>
                  <a:pt x="977503" y="1445813"/>
                </a:lnTo>
                <a:lnTo>
                  <a:pt x="968772" y="1447799"/>
                </a:lnTo>
                <a:lnTo>
                  <a:pt x="959644" y="1448991"/>
                </a:lnTo>
                <a:lnTo>
                  <a:pt x="950913" y="1449388"/>
                </a:lnTo>
                <a:lnTo>
                  <a:pt x="944166" y="1449388"/>
                </a:lnTo>
                <a:lnTo>
                  <a:pt x="937419" y="1448594"/>
                </a:lnTo>
                <a:lnTo>
                  <a:pt x="930672" y="1447402"/>
                </a:lnTo>
                <a:lnTo>
                  <a:pt x="923925" y="1445416"/>
                </a:lnTo>
                <a:lnTo>
                  <a:pt x="917575" y="1443033"/>
                </a:lnTo>
                <a:lnTo>
                  <a:pt x="911225" y="1440650"/>
                </a:lnTo>
                <a:lnTo>
                  <a:pt x="905272" y="1437472"/>
                </a:lnTo>
                <a:lnTo>
                  <a:pt x="898922" y="1434294"/>
                </a:lnTo>
                <a:lnTo>
                  <a:pt x="893366" y="1430720"/>
                </a:lnTo>
                <a:lnTo>
                  <a:pt x="887810" y="1427145"/>
                </a:lnTo>
                <a:lnTo>
                  <a:pt x="876300" y="1419201"/>
                </a:lnTo>
                <a:lnTo>
                  <a:pt x="865188" y="1410462"/>
                </a:lnTo>
                <a:lnTo>
                  <a:pt x="854472" y="1402121"/>
                </a:lnTo>
                <a:lnTo>
                  <a:pt x="837803" y="1388616"/>
                </a:lnTo>
                <a:lnTo>
                  <a:pt x="835422" y="1386630"/>
                </a:lnTo>
                <a:lnTo>
                  <a:pt x="681435" y="1264689"/>
                </a:lnTo>
                <a:lnTo>
                  <a:pt x="673497" y="1270647"/>
                </a:lnTo>
                <a:lnTo>
                  <a:pt x="665560" y="1275414"/>
                </a:lnTo>
                <a:lnTo>
                  <a:pt x="649685" y="1285741"/>
                </a:lnTo>
                <a:lnTo>
                  <a:pt x="633016" y="1294480"/>
                </a:lnTo>
                <a:lnTo>
                  <a:pt x="617538" y="1302026"/>
                </a:lnTo>
                <a:lnTo>
                  <a:pt x="602456" y="1308382"/>
                </a:lnTo>
                <a:lnTo>
                  <a:pt x="588963" y="1313148"/>
                </a:lnTo>
                <a:lnTo>
                  <a:pt x="576660" y="1317120"/>
                </a:lnTo>
                <a:lnTo>
                  <a:pt x="571103" y="1318312"/>
                </a:lnTo>
                <a:lnTo>
                  <a:pt x="565944" y="1319106"/>
                </a:lnTo>
                <a:lnTo>
                  <a:pt x="561975" y="1319503"/>
                </a:lnTo>
                <a:lnTo>
                  <a:pt x="557610" y="1319503"/>
                </a:lnTo>
                <a:lnTo>
                  <a:pt x="553641" y="1319106"/>
                </a:lnTo>
                <a:lnTo>
                  <a:pt x="550069" y="1318312"/>
                </a:lnTo>
                <a:lnTo>
                  <a:pt x="546497" y="1317517"/>
                </a:lnTo>
                <a:lnTo>
                  <a:pt x="543719" y="1315531"/>
                </a:lnTo>
                <a:lnTo>
                  <a:pt x="540941" y="1313942"/>
                </a:lnTo>
                <a:lnTo>
                  <a:pt x="538163" y="1312354"/>
                </a:lnTo>
                <a:lnTo>
                  <a:pt x="535781" y="1309970"/>
                </a:lnTo>
                <a:lnTo>
                  <a:pt x="533003" y="1307587"/>
                </a:lnTo>
                <a:lnTo>
                  <a:pt x="529431" y="1302026"/>
                </a:lnTo>
                <a:lnTo>
                  <a:pt x="525860" y="1296466"/>
                </a:lnTo>
                <a:lnTo>
                  <a:pt x="523478" y="1290507"/>
                </a:lnTo>
                <a:lnTo>
                  <a:pt x="521891" y="1284152"/>
                </a:lnTo>
                <a:lnTo>
                  <a:pt x="519906" y="1278194"/>
                </a:lnTo>
                <a:lnTo>
                  <a:pt x="518716" y="1272236"/>
                </a:lnTo>
                <a:lnTo>
                  <a:pt x="518319" y="1267073"/>
                </a:lnTo>
                <a:lnTo>
                  <a:pt x="517525" y="1259526"/>
                </a:lnTo>
                <a:lnTo>
                  <a:pt x="517525" y="1256745"/>
                </a:lnTo>
                <a:lnTo>
                  <a:pt x="517525" y="1255554"/>
                </a:lnTo>
                <a:lnTo>
                  <a:pt x="516731" y="1252376"/>
                </a:lnTo>
                <a:lnTo>
                  <a:pt x="515541" y="1248007"/>
                </a:lnTo>
                <a:lnTo>
                  <a:pt x="514350" y="1245624"/>
                </a:lnTo>
                <a:lnTo>
                  <a:pt x="512366" y="1243638"/>
                </a:lnTo>
                <a:lnTo>
                  <a:pt x="509985" y="1240857"/>
                </a:lnTo>
                <a:lnTo>
                  <a:pt x="507603" y="1239269"/>
                </a:lnTo>
                <a:lnTo>
                  <a:pt x="504031" y="1237283"/>
                </a:lnTo>
                <a:lnTo>
                  <a:pt x="499666" y="1236091"/>
                </a:lnTo>
                <a:lnTo>
                  <a:pt x="495300" y="1235296"/>
                </a:lnTo>
                <a:lnTo>
                  <a:pt x="489744" y="1234502"/>
                </a:lnTo>
                <a:lnTo>
                  <a:pt x="483394" y="1234502"/>
                </a:lnTo>
                <a:lnTo>
                  <a:pt x="475853" y="1235694"/>
                </a:lnTo>
                <a:lnTo>
                  <a:pt x="471884" y="1236091"/>
                </a:lnTo>
                <a:lnTo>
                  <a:pt x="467915" y="1235694"/>
                </a:lnTo>
                <a:lnTo>
                  <a:pt x="463947" y="1234105"/>
                </a:lnTo>
                <a:lnTo>
                  <a:pt x="459978" y="1232119"/>
                </a:lnTo>
                <a:lnTo>
                  <a:pt x="455612" y="1229736"/>
                </a:lnTo>
                <a:lnTo>
                  <a:pt x="451247" y="1226558"/>
                </a:lnTo>
                <a:lnTo>
                  <a:pt x="447278" y="1222983"/>
                </a:lnTo>
                <a:lnTo>
                  <a:pt x="442912" y="1219011"/>
                </a:lnTo>
                <a:lnTo>
                  <a:pt x="439340" y="1214245"/>
                </a:lnTo>
                <a:lnTo>
                  <a:pt x="434975" y="1209876"/>
                </a:lnTo>
                <a:lnTo>
                  <a:pt x="427037" y="1199151"/>
                </a:lnTo>
                <a:lnTo>
                  <a:pt x="419100" y="1187235"/>
                </a:lnTo>
                <a:lnTo>
                  <a:pt x="411559" y="1175716"/>
                </a:lnTo>
                <a:lnTo>
                  <a:pt x="404415" y="1163800"/>
                </a:lnTo>
                <a:lnTo>
                  <a:pt x="398065" y="1151884"/>
                </a:lnTo>
                <a:lnTo>
                  <a:pt x="388144" y="1130833"/>
                </a:lnTo>
                <a:lnTo>
                  <a:pt x="381000" y="1116136"/>
                </a:lnTo>
                <a:lnTo>
                  <a:pt x="379015" y="1110575"/>
                </a:lnTo>
                <a:lnTo>
                  <a:pt x="379015" y="1108589"/>
                </a:lnTo>
                <a:lnTo>
                  <a:pt x="379015" y="1102631"/>
                </a:lnTo>
                <a:lnTo>
                  <a:pt x="379015" y="1099056"/>
                </a:lnTo>
                <a:lnTo>
                  <a:pt x="378619" y="1094687"/>
                </a:lnTo>
                <a:lnTo>
                  <a:pt x="377428" y="1089921"/>
                </a:lnTo>
                <a:lnTo>
                  <a:pt x="375840" y="1085154"/>
                </a:lnTo>
                <a:lnTo>
                  <a:pt x="374253" y="1080388"/>
                </a:lnTo>
                <a:lnTo>
                  <a:pt x="371872" y="1075622"/>
                </a:lnTo>
                <a:lnTo>
                  <a:pt x="368300" y="1070855"/>
                </a:lnTo>
                <a:lnTo>
                  <a:pt x="363934" y="1066883"/>
                </a:lnTo>
                <a:lnTo>
                  <a:pt x="361553" y="1064500"/>
                </a:lnTo>
                <a:lnTo>
                  <a:pt x="359172" y="1062514"/>
                </a:lnTo>
                <a:lnTo>
                  <a:pt x="355997" y="1060925"/>
                </a:lnTo>
                <a:lnTo>
                  <a:pt x="352822" y="1059336"/>
                </a:lnTo>
                <a:lnTo>
                  <a:pt x="349250" y="1057747"/>
                </a:lnTo>
                <a:lnTo>
                  <a:pt x="345678" y="1056556"/>
                </a:lnTo>
                <a:lnTo>
                  <a:pt x="341312" y="1055761"/>
                </a:lnTo>
                <a:lnTo>
                  <a:pt x="336947" y="1054967"/>
                </a:lnTo>
                <a:lnTo>
                  <a:pt x="332581" y="1054173"/>
                </a:lnTo>
                <a:lnTo>
                  <a:pt x="328215" y="1052981"/>
                </a:lnTo>
                <a:lnTo>
                  <a:pt x="323453" y="1050598"/>
                </a:lnTo>
                <a:lnTo>
                  <a:pt x="319484" y="1048612"/>
                </a:lnTo>
                <a:lnTo>
                  <a:pt x="315119" y="1046229"/>
                </a:lnTo>
                <a:lnTo>
                  <a:pt x="311150" y="1043051"/>
                </a:lnTo>
                <a:lnTo>
                  <a:pt x="307181" y="1039476"/>
                </a:lnTo>
                <a:lnTo>
                  <a:pt x="303212" y="1035504"/>
                </a:lnTo>
                <a:lnTo>
                  <a:pt x="299640" y="1031532"/>
                </a:lnTo>
                <a:lnTo>
                  <a:pt x="295672" y="1027163"/>
                </a:lnTo>
                <a:lnTo>
                  <a:pt x="288528" y="1017233"/>
                </a:lnTo>
                <a:lnTo>
                  <a:pt x="281781" y="1006906"/>
                </a:lnTo>
                <a:lnTo>
                  <a:pt x="275431" y="994990"/>
                </a:lnTo>
                <a:lnTo>
                  <a:pt x="269081" y="982676"/>
                </a:lnTo>
                <a:lnTo>
                  <a:pt x="263922" y="969569"/>
                </a:lnTo>
                <a:lnTo>
                  <a:pt x="258762" y="956064"/>
                </a:lnTo>
                <a:lnTo>
                  <a:pt x="254000" y="942559"/>
                </a:lnTo>
                <a:lnTo>
                  <a:pt x="250031" y="928657"/>
                </a:lnTo>
                <a:lnTo>
                  <a:pt x="246062" y="914755"/>
                </a:lnTo>
                <a:lnTo>
                  <a:pt x="242887" y="901250"/>
                </a:lnTo>
                <a:lnTo>
                  <a:pt x="239712" y="888142"/>
                </a:lnTo>
                <a:lnTo>
                  <a:pt x="239315" y="884568"/>
                </a:lnTo>
                <a:lnTo>
                  <a:pt x="238919" y="880993"/>
                </a:lnTo>
                <a:lnTo>
                  <a:pt x="239315" y="877418"/>
                </a:lnTo>
                <a:lnTo>
                  <a:pt x="239712" y="873843"/>
                </a:lnTo>
                <a:lnTo>
                  <a:pt x="240109" y="870268"/>
                </a:lnTo>
                <a:lnTo>
                  <a:pt x="240903" y="866296"/>
                </a:lnTo>
                <a:lnTo>
                  <a:pt x="244078" y="859147"/>
                </a:lnTo>
                <a:lnTo>
                  <a:pt x="247253" y="851600"/>
                </a:lnTo>
                <a:lnTo>
                  <a:pt x="252015" y="844053"/>
                </a:lnTo>
                <a:lnTo>
                  <a:pt x="257572" y="836506"/>
                </a:lnTo>
                <a:lnTo>
                  <a:pt x="263525" y="828959"/>
                </a:lnTo>
                <a:lnTo>
                  <a:pt x="270272" y="821015"/>
                </a:lnTo>
                <a:lnTo>
                  <a:pt x="277415" y="813469"/>
                </a:lnTo>
                <a:lnTo>
                  <a:pt x="284956" y="806319"/>
                </a:lnTo>
                <a:lnTo>
                  <a:pt x="292894" y="799169"/>
                </a:lnTo>
                <a:lnTo>
                  <a:pt x="301228" y="792020"/>
                </a:lnTo>
                <a:lnTo>
                  <a:pt x="309562" y="784870"/>
                </a:lnTo>
                <a:lnTo>
                  <a:pt x="327422" y="771762"/>
                </a:lnTo>
                <a:lnTo>
                  <a:pt x="271065" y="641480"/>
                </a:lnTo>
                <a:lnTo>
                  <a:pt x="259953" y="660546"/>
                </a:lnTo>
                <a:lnTo>
                  <a:pt x="252015" y="674448"/>
                </a:lnTo>
                <a:lnTo>
                  <a:pt x="245665" y="687159"/>
                </a:lnTo>
                <a:lnTo>
                  <a:pt x="243681" y="690733"/>
                </a:lnTo>
                <a:lnTo>
                  <a:pt x="240903" y="694308"/>
                </a:lnTo>
                <a:lnTo>
                  <a:pt x="238125" y="697486"/>
                </a:lnTo>
                <a:lnTo>
                  <a:pt x="234950" y="700266"/>
                </a:lnTo>
                <a:lnTo>
                  <a:pt x="231378" y="702649"/>
                </a:lnTo>
                <a:lnTo>
                  <a:pt x="227409" y="704635"/>
                </a:lnTo>
                <a:lnTo>
                  <a:pt x="223837" y="705827"/>
                </a:lnTo>
                <a:lnTo>
                  <a:pt x="219472" y="707019"/>
                </a:lnTo>
                <a:lnTo>
                  <a:pt x="213519" y="707416"/>
                </a:lnTo>
                <a:lnTo>
                  <a:pt x="209947" y="707416"/>
                </a:lnTo>
                <a:lnTo>
                  <a:pt x="206375" y="707019"/>
                </a:lnTo>
                <a:lnTo>
                  <a:pt x="203200" y="705827"/>
                </a:lnTo>
                <a:lnTo>
                  <a:pt x="199628" y="704635"/>
                </a:lnTo>
                <a:lnTo>
                  <a:pt x="196850" y="703047"/>
                </a:lnTo>
                <a:lnTo>
                  <a:pt x="193675" y="701458"/>
                </a:lnTo>
                <a:lnTo>
                  <a:pt x="190897" y="699075"/>
                </a:lnTo>
                <a:lnTo>
                  <a:pt x="188119" y="696691"/>
                </a:lnTo>
                <a:lnTo>
                  <a:pt x="9922" y="515568"/>
                </a:lnTo>
                <a:lnTo>
                  <a:pt x="7937" y="513184"/>
                </a:lnTo>
                <a:lnTo>
                  <a:pt x="5953" y="510801"/>
                </a:lnTo>
                <a:lnTo>
                  <a:pt x="3969" y="508021"/>
                </a:lnTo>
                <a:lnTo>
                  <a:pt x="2778" y="505240"/>
                </a:lnTo>
                <a:lnTo>
                  <a:pt x="1587" y="502063"/>
                </a:lnTo>
                <a:lnTo>
                  <a:pt x="794" y="499282"/>
                </a:lnTo>
                <a:lnTo>
                  <a:pt x="397" y="496105"/>
                </a:lnTo>
                <a:lnTo>
                  <a:pt x="0" y="493324"/>
                </a:lnTo>
                <a:lnTo>
                  <a:pt x="0" y="490147"/>
                </a:lnTo>
                <a:lnTo>
                  <a:pt x="0" y="486969"/>
                </a:lnTo>
                <a:lnTo>
                  <a:pt x="397" y="484189"/>
                </a:lnTo>
                <a:lnTo>
                  <a:pt x="1190" y="481011"/>
                </a:lnTo>
                <a:lnTo>
                  <a:pt x="1984" y="477833"/>
                </a:lnTo>
                <a:lnTo>
                  <a:pt x="3175" y="475053"/>
                </a:lnTo>
                <a:lnTo>
                  <a:pt x="4762" y="472273"/>
                </a:lnTo>
                <a:lnTo>
                  <a:pt x="7144" y="469889"/>
                </a:lnTo>
                <a:lnTo>
                  <a:pt x="12700" y="461548"/>
                </a:lnTo>
                <a:lnTo>
                  <a:pt x="26987" y="444071"/>
                </a:lnTo>
                <a:lnTo>
                  <a:pt x="48419" y="417062"/>
                </a:lnTo>
                <a:lnTo>
                  <a:pt x="76597" y="382902"/>
                </a:lnTo>
                <a:lnTo>
                  <a:pt x="92869" y="363439"/>
                </a:lnTo>
                <a:lnTo>
                  <a:pt x="111125" y="342785"/>
                </a:lnTo>
                <a:lnTo>
                  <a:pt x="130572" y="320939"/>
                </a:lnTo>
                <a:lnTo>
                  <a:pt x="151209" y="297901"/>
                </a:lnTo>
                <a:lnTo>
                  <a:pt x="173037" y="274069"/>
                </a:lnTo>
                <a:lnTo>
                  <a:pt x="196453" y="249840"/>
                </a:lnTo>
                <a:lnTo>
                  <a:pt x="220265" y="224816"/>
                </a:lnTo>
                <a:lnTo>
                  <a:pt x="245269" y="200190"/>
                </a:lnTo>
                <a:lnTo>
                  <a:pt x="258365" y="187479"/>
                </a:lnTo>
                <a:lnTo>
                  <a:pt x="271462" y="175166"/>
                </a:lnTo>
                <a:lnTo>
                  <a:pt x="284162" y="163647"/>
                </a:lnTo>
                <a:lnTo>
                  <a:pt x="297259" y="152525"/>
                </a:lnTo>
                <a:lnTo>
                  <a:pt x="321865" y="131474"/>
                </a:lnTo>
                <a:lnTo>
                  <a:pt x="346472" y="112011"/>
                </a:lnTo>
                <a:lnTo>
                  <a:pt x="369887" y="94137"/>
                </a:lnTo>
                <a:lnTo>
                  <a:pt x="392906" y="78646"/>
                </a:lnTo>
                <a:lnTo>
                  <a:pt x="413940" y="64347"/>
                </a:lnTo>
                <a:lnTo>
                  <a:pt x="434181" y="51239"/>
                </a:lnTo>
                <a:lnTo>
                  <a:pt x="452040" y="40117"/>
                </a:lnTo>
                <a:lnTo>
                  <a:pt x="469106" y="30584"/>
                </a:lnTo>
                <a:lnTo>
                  <a:pt x="483791" y="22640"/>
                </a:lnTo>
                <a:lnTo>
                  <a:pt x="496491" y="15888"/>
                </a:lnTo>
                <a:lnTo>
                  <a:pt x="514747" y="6752"/>
                </a:lnTo>
                <a:lnTo>
                  <a:pt x="522685" y="3178"/>
                </a:lnTo>
                <a:lnTo>
                  <a:pt x="527447" y="1192"/>
                </a:lnTo>
                <a:lnTo>
                  <a:pt x="532606" y="397"/>
                </a:lnTo>
                <a:lnTo>
                  <a:pt x="537766" y="0"/>
                </a:lnTo>
                <a:close/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itchFamily="34" charset="-122"/>
            </a:endParaRPr>
          </a:p>
        </p:txBody>
      </p:sp>
      <p:sp>
        <p:nvSpPr>
          <p:cNvPr id="123" name="椭圆 122"/>
          <p:cNvSpPr/>
          <p:nvPr/>
        </p:nvSpPr>
        <p:spPr>
          <a:xfrm>
            <a:off x="246195" y="4280933"/>
            <a:ext cx="586581" cy="58658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700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微软雅黑" pitchFamily="34" charset="-122"/>
            </a:endParaRPr>
          </a:p>
        </p:txBody>
      </p:sp>
      <p:grpSp>
        <p:nvGrpSpPr>
          <p:cNvPr id="235" name="组合 234"/>
          <p:cNvGrpSpPr/>
          <p:nvPr/>
        </p:nvGrpSpPr>
        <p:grpSpPr>
          <a:xfrm>
            <a:off x="328059" y="4362188"/>
            <a:ext cx="431737" cy="393925"/>
            <a:chOff x="5142145" y="4100016"/>
            <a:chExt cx="431737" cy="393925"/>
          </a:xfrm>
          <a:solidFill>
            <a:srgbClr val="0070C4"/>
          </a:solidFill>
        </p:grpSpPr>
        <p:grpSp>
          <p:nvGrpSpPr>
            <p:cNvPr id="236" name="组合 235"/>
            <p:cNvGrpSpPr/>
            <p:nvPr/>
          </p:nvGrpSpPr>
          <p:grpSpPr>
            <a:xfrm>
              <a:off x="5142145" y="4100016"/>
              <a:ext cx="431737" cy="393925"/>
              <a:chOff x="4936572" y="3818097"/>
              <a:chExt cx="576002" cy="525554"/>
            </a:xfrm>
            <a:grpFill/>
          </p:grpSpPr>
          <p:sp>
            <p:nvSpPr>
              <p:cNvPr id="241" name="Freeform 22"/>
              <p:cNvSpPr>
                <a:spLocks/>
              </p:cNvSpPr>
              <p:nvPr/>
            </p:nvSpPr>
            <p:spPr bwMode="auto">
              <a:xfrm>
                <a:off x="5079348" y="4003082"/>
                <a:ext cx="302604" cy="87772"/>
              </a:xfrm>
              <a:custGeom>
                <a:avLst/>
                <a:gdLst>
                  <a:gd name="T0" fmla="*/ 0 w 1412"/>
                  <a:gd name="T1" fmla="*/ 418998 h 406"/>
                  <a:gd name="T2" fmla="*/ 1099839 w 1412"/>
                  <a:gd name="T3" fmla="*/ 0 h 406"/>
                  <a:gd name="T4" fmla="*/ 2389188 w 1412"/>
                  <a:gd name="T5" fmla="*/ 291060 h 406"/>
                  <a:gd name="T6" fmla="*/ 1489012 w 1412"/>
                  <a:gd name="T7" fmla="*/ 649287 h 406"/>
                  <a:gd name="T8" fmla="*/ 0 w 1412"/>
                  <a:gd name="T9" fmla="*/ 418998 h 4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12"/>
                  <a:gd name="T16" fmla="*/ 0 h 406"/>
                  <a:gd name="T17" fmla="*/ 1412 w 1412"/>
                  <a:gd name="T18" fmla="*/ 406 h 406"/>
                  <a:gd name="connsiteX0" fmla="*/ 0 w 10173"/>
                  <a:gd name="connsiteY0" fmla="*/ 6453 h 10000"/>
                  <a:gd name="connsiteX1" fmla="*/ 4776 w 10173"/>
                  <a:gd name="connsiteY1" fmla="*/ 0 h 10000"/>
                  <a:gd name="connsiteX2" fmla="*/ 10173 w 10173"/>
                  <a:gd name="connsiteY2" fmla="*/ 4483 h 10000"/>
                  <a:gd name="connsiteX3" fmla="*/ 6405 w 10173"/>
                  <a:gd name="connsiteY3" fmla="*/ 10000 h 10000"/>
                  <a:gd name="connsiteX4" fmla="*/ 0 w 10173"/>
                  <a:gd name="connsiteY4" fmla="*/ 645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73" h="10000">
                    <a:moveTo>
                      <a:pt x="0" y="6453"/>
                    </a:moveTo>
                    <a:lnTo>
                      <a:pt x="4776" y="0"/>
                    </a:lnTo>
                    <a:lnTo>
                      <a:pt x="10173" y="4483"/>
                    </a:lnTo>
                    <a:lnTo>
                      <a:pt x="6405" y="10000"/>
                    </a:lnTo>
                    <a:lnTo>
                      <a:pt x="0" y="645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2" name="Freeform 23"/>
              <p:cNvSpPr>
                <a:spLocks/>
              </p:cNvSpPr>
              <p:nvPr/>
            </p:nvSpPr>
            <p:spPr bwMode="auto">
              <a:xfrm>
                <a:off x="5006109" y="4099867"/>
                <a:ext cx="446820" cy="134983"/>
              </a:xfrm>
              <a:custGeom>
                <a:avLst/>
                <a:gdLst>
                  <a:gd name="T0" fmla="*/ 0 w 2022"/>
                  <a:gd name="T1" fmla="*/ 601967 h 632"/>
                  <a:gd name="T2" fmla="*/ 1082522 w 2022"/>
                  <a:gd name="T3" fmla="*/ 0 h 632"/>
                  <a:gd name="T4" fmla="*/ 3271837 w 2022"/>
                  <a:gd name="T5" fmla="*/ 390251 h 632"/>
                  <a:gd name="T6" fmla="*/ 2069575 w 2022"/>
                  <a:gd name="T7" fmla="*/ 998538 h 632"/>
                  <a:gd name="T8" fmla="*/ 0 w 2022"/>
                  <a:gd name="T9" fmla="*/ 601967 h 6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22"/>
                  <a:gd name="T16" fmla="*/ 0 h 632"/>
                  <a:gd name="T17" fmla="*/ 2022 w 2022"/>
                  <a:gd name="T18" fmla="*/ 632 h 632"/>
                  <a:gd name="connsiteX0" fmla="*/ 0 w 10632"/>
                  <a:gd name="connsiteY0" fmla="*/ 5144 h 10000"/>
                  <a:gd name="connsiteX1" fmla="*/ 3941 w 10632"/>
                  <a:gd name="connsiteY1" fmla="*/ 0 h 10000"/>
                  <a:gd name="connsiteX2" fmla="*/ 10632 w 10632"/>
                  <a:gd name="connsiteY2" fmla="*/ 3908 h 10000"/>
                  <a:gd name="connsiteX3" fmla="*/ 6957 w 10632"/>
                  <a:gd name="connsiteY3" fmla="*/ 10000 h 10000"/>
                  <a:gd name="connsiteX4" fmla="*/ 0 w 10632"/>
                  <a:gd name="connsiteY4" fmla="*/ 5144 h 10000"/>
                  <a:gd name="connsiteX0" fmla="*/ 0 w 11011"/>
                  <a:gd name="connsiteY0" fmla="*/ 5144 h 10000"/>
                  <a:gd name="connsiteX1" fmla="*/ 3941 w 11011"/>
                  <a:gd name="connsiteY1" fmla="*/ 0 h 10000"/>
                  <a:gd name="connsiteX2" fmla="*/ 11011 w 11011"/>
                  <a:gd name="connsiteY2" fmla="*/ 2730 h 10000"/>
                  <a:gd name="connsiteX3" fmla="*/ 6957 w 11011"/>
                  <a:gd name="connsiteY3" fmla="*/ 10000 h 10000"/>
                  <a:gd name="connsiteX4" fmla="*/ 0 w 11011"/>
                  <a:gd name="connsiteY4" fmla="*/ 5144 h 10000"/>
                  <a:gd name="connsiteX0" fmla="*/ 0 w 10969"/>
                  <a:gd name="connsiteY0" fmla="*/ 4888 h 10000"/>
                  <a:gd name="connsiteX1" fmla="*/ 3899 w 10969"/>
                  <a:gd name="connsiteY1" fmla="*/ 0 h 10000"/>
                  <a:gd name="connsiteX2" fmla="*/ 10969 w 10969"/>
                  <a:gd name="connsiteY2" fmla="*/ 2730 h 10000"/>
                  <a:gd name="connsiteX3" fmla="*/ 6915 w 10969"/>
                  <a:gd name="connsiteY3" fmla="*/ 10000 h 10000"/>
                  <a:gd name="connsiteX4" fmla="*/ 0 w 10969"/>
                  <a:gd name="connsiteY4" fmla="*/ 488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69" h="10000">
                    <a:moveTo>
                      <a:pt x="0" y="4888"/>
                    </a:moveTo>
                    <a:lnTo>
                      <a:pt x="3899" y="0"/>
                    </a:lnTo>
                    <a:lnTo>
                      <a:pt x="10969" y="2730"/>
                    </a:lnTo>
                    <a:lnTo>
                      <a:pt x="6915" y="10000"/>
                    </a:lnTo>
                    <a:lnTo>
                      <a:pt x="0" y="488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3" name="Freeform 9"/>
              <p:cNvSpPr>
                <a:spLocks/>
              </p:cNvSpPr>
              <p:nvPr/>
            </p:nvSpPr>
            <p:spPr bwMode="auto">
              <a:xfrm>
                <a:off x="5084889" y="3818097"/>
                <a:ext cx="184405" cy="243356"/>
              </a:xfrm>
              <a:custGeom>
                <a:avLst/>
                <a:gdLst>
                  <a:gd name="T0" fmla="*/ 1187662 w 646"/>
                  <a:gd name="T1" fmla="*/ 0 h 886"/>
                  <a:gd name="T2" fmla="*/ 0 w 646"/>
                  <a:gd name="T3" fmla="*/ 1576721 h 886"/>
                  <a:gd name="T4" fmla="*/ 1481138 w 646"/>
                  <a:gd name="T5" fmla="*/ 1800225 h 886"/>
                  <a:gd name="T6" fmla="*/ 1187662 w 646"/>
                  <a:gd name="T7" fmla="*/ 0 h 8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6"/>
                  <a:gd name="T13" fmla="*/ 0 h 886"/>
                  <a:gd name="T14" fmla="*/ 646 w 646"/>
                  <a:gd name="T15" fmla="*/ 886 h 8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6" h="886">
                    <a:moveTo>
                      <a:pt x="518" y="0"/>
                    </a:moveTo>
                    <a:lnTo>
                      <a:pt x="0" y="776"/>
                    </a:lnTo>
                    <a:lnTo>
                      <a:pt x="646" y="886"/>
                    </a:lnTo>
                    <a:lnTo>
                      <a:pt x="51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4" name="Freeform 11"/>
              <p:cNvSpPr>
                <a:spLocks/>
              </p:cNvSpPr>
              <p:nvPr/>
            </p:nvSpPr>
            <p:spPr bwMode="auto">
              <a:xfrm>
                <a:off x="5232058" y="3819172"/>
                <a:ext cx="147246" cy="242283"/>
              </a:xfrm>
              <a:custGeom>
                <a:avLst/>
                <a:gdLst>
                  <a:gd name="T0" fmla="*/ 0 w 514"/>
                  <a:gd name="T1" fmla="*/ 0 h 882"/>
                  <a:gd name="T2" fmla="*/ 1182688 w 514"/>
                  <a:gd name="T3" fmla="*/ 1454964 h 882"/>
                  <a:gd name="T4" fmla="*/ 289920 w 514"/>
                  <a:gd name="T5" fmla="*/ 1792288 h 882"/>
                  <a:gd name="T6" fmla="*/ 0 w 514"/>
                  <a:gd name="T7" fmla="*/ 0 h 88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14"/>
                  <a:gd name="T13" fmla="*/ 0 h 882"/>
                  <a:gd name="T14" fmla="*/ 514 w 514"/>
                  <a:gd name="T15" fmla="*/ 882 h 88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14" h="882">
                    <a:moveTo>
                      <a:pt x="0" y="0"/>
                    </a:moveTo>
                    <a:lnTo>
                      <a:pt x="514" y="716"/>
                    </a:lnTo>
                    <a:lnTo>
                      <a:pt x="126" y="8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5" name="Freeform 14"/>
              <p:cNvSpPr>
                <a:spLocks/>
              </p:cNvSpPr>
              <p:nvPr/>
            </p:nvSpPr>
            <p:spPr bwMode="auto">
              <a:xfrm>
                <a:off x="5016338" y="4058663"/>
                <a:ext cx="268964" cy="138202"/>
              </a:xfrm>
              <a:custGeom>
                <a:avLst/>
                <a:gdLst>
                  <a:gd name="T0" fmla="*/ 459507 w 1024"/>
                  <a:gd name="T1" fmla="*/ 0 h 520"/>
                  <a:gd name="T2" fmla="*/ 1950888 w 1024"/>
                  <a:gd name="T3" fmla="*/ 228063 h 520"/>
                  <a:gd name="T4" fmla="*/ 2063750 w 1024"/>
                  <a:gd name="T5" fmla="*/ 1022350 h 520"/>
                  <a:gd name="T6" fmla="*/ 0 w 1024"/>
                  <a:gd name="T7" fmla="*/ 652731 h 520"/>
                  <a:gd name="T8" fmla="*/ 459507 w 1024"/>
                  <a:gd name="T9" fmla="*/ 0 h 5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24"/>
                  <a:gd name="T16" fmla="*/ 0 h 520"/>
                  <a:gd name="T17" fmla="*/ 1024 w 1024"/>
                  <a:gd name="T18" fmla="*/ 520 h 520"/>
                  <a:gd name="connsiteX0" fmla="*/ 1893 w 10000"/>
                  <a:gd name="connsiteY0" fmla="*/ 0 h 10000"/>
                  <a:gd name="connsiteX1" fmla="*/ 9453 w 10000"/>
                  <a:gd name="connsiteY1" fmla="*/ 2231 h 10000"/>
                  <a:gd name="connsiteX2" fmla="*/ 10000 w 10000"/>
                  <a:gd name="connsiteY2" fmla="*/ 10000 h 10000"/>
                  <a:gd name="connsiteX3" fmla="*/ 0 w 10000"/>
                  <a:gd name="connsiteY3" fmla="*/ 6385 h 10000"/>
                  <a:gd name="connsiteX4" fmla="*/ 1893 w 10000"/>
                  <a:gd name="connsiteY4" fmla="*/ 0 h 10000"/>
                  <a:gd name="connsiteX0" fmla="*/ 2361 w 10468"/>
                  <a:gd name="connsiteY0" fmla="*/ 0 h 10000"/>
                  <a:gd name="connsiteX1" fmla="*/ 9921 w 10468"/>
                  <a:gd name="connsiteY1" fmla="*/ 2231 h 10000"/>
                  <a:gd name="connsiteX2" fmla="*/ 10468 w 10468"/>
                  <a:gd name="connsiteY2" fmla="*/ 10000 h 10000"/>
                  <a:gd name="connsiteX3" fmla="*/ 0 w 10468"/>
                  <a:gd name="connsiteY3" fmla="*/ 6097 h 10000"/>
                  <a:gd name="connsiteX4" fmla="*/ 2361 w 10468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68" h="10000">
                    <a:moveTo>
                      <a:pt x="2361" y="0"/>
                    </a:moveTo>
                    <a:lnTo>
                      <a:pt x="9921" y="2231"/>
                    </a:lnTo>
                    <a:cubicBezTo>
                      <a:pt x="10103" y="4821"/>
                      <a:pt x="10286" y="7410"/>
                      <a:pt x="10468" y="10000"/>
                    </a:cubicBezTo>
                    <a:lnTo>
                      <a:pt x="0" y="6097"/>
                    </a:lnTo>
                    <a:lnTo>
                      <a:pt x="236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6" name="Freeform 16"/>
              <p:cNvSpPr>
                <a:spLocks/>
              </p:cNvSpPr>
              <p:nvPr/>
            </p:nvSpPr>
            <p:spPr bwMode="auto">
              <a:xfrm>
                <a:off x="4936572" y="4166422"/>
                <a:ext cx="366518" cy="176157"/>
              </a:xfrm>
              <a:custGeom>
                <a:avLst/>
                <a:gdLst>
                  <a:gd name="T0" fmla="*/ 459928 w 1639"/>
                  <a:gd name="T1" fmla="*/ 0 h 759"/>
                  <a:gd name="T2" fmla="*/ 2526362 w 1639"/>
                  <a:gd name="T3" fmla="*/ 385819 h 759"/>
                  <a:gd name="T4" fmla="*/ 2654300 w 1639"/>
                  <a:gd name="T5" fmla="*/ 1200150 h 759"/>
                  <a:gd name="T6" fmla="*/ 0 w 1639"/>
                  <a:gd name="T7" fmla="*/ 623003 h 759"/>
                  <a:gd name="T8" fmla="*/ 459928 w 1639"/>
                  <a:gd name="T9" fmla="*/ 0 h 7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39"/>
                  <a:gd name="T16" fmla="*/ 0 h 759"/>
                  <a:gd name="T17" fmla="*/ 1639 w 1639"/>
                  <a:gd name="T18" fmla="*/ 759 h 759"/>
                  <a:gd name="connsiteX0" fmla="*/ 1213 w 10000"/>
                  <a:gd name="connsiteY0" fmla="*/ 0 h 10490"/>
                  <a:gd name="connsiteX1" fmla="*/ 9518 w 10000"/>
                  <a:gd name="connsiteY1" fmla="*/ 3705 h 10490"/>
                  <a:gd name="connsiteX2" fmla="*/ 10000 w 10000"/>
                  <a:gd name="connsiteY2" fmla="*/ 10490 h 10490"/>
                  <a:gd name="connsiteX3" fmla="*/ 0 w 10000"/>
                  <a:gd name="connsiteY3" fmla="*/ 5681 h 10490"/>
                  <a:gd name="connsiteX4" fmla="*/ 1213 w 10000"/>
                  <a:gd name="connsiteY4" fmla="*/ 0 h 10490"/>
                  <a:gd name="connsiteX0" fmla="*/ 2304 w 11091"/>
                  <a:gd name="connsiteY0" fmla="*/ 0 h 10490"/>
                  <a:gd name="connsiteX1" fmla="*/ 10609 w 11091"/>
                  <a:gd name="connsiteY1" fmla="*/ 3705 h 10490"/>
                  <a:gd name="connsiteX2" fmla="*/ 11091 w 11091"/>
                  <a:gd name="connsiteY2" fmla="*/ 10490 h 10490"/>
                  <a:gd name="connsiteX3" fmla="*/ 0 w 11091"/>
                  <a:gd name="connsiteY3" fmla="*/ 5191 h 10490"/>
                  <a:gd name="connsiteX4" fmla="*/ 2304 w 11091"/>
                  <a:gd name="connsiteY4" fmla="*/ 0 h 10490"/>
                  <a:gd name="connsiteX0" fmla="*/ 2148 w 11091"/>
                  <a:gd name="connsiteY0" fmla="*/ 0 h 10858"/>
                  <a:gd name="connsiteX1" fmla="*/ 10609 w 11091"/>
                  <a:gd name="connsiteY1" fmla="*/ 4073 h 10858"/>
                  <a:gd name="connsiteX2" fmla="*/ 11091 w 11091"/>
                  <a:gd name="connsiteY2" fmla="*/ 10858 h 10858"/>
                  <a:gd name="connsiteX3" fmla="*/ 0 w 11091"/>
                  <a:gd name="connsiteY3" fmla="*/ 5559 h 10858"/>
                  <a:gd name="connsiteX4" fmla="*/ 2148 w 11091"/>
                  <a:gd name="connsiteY4" fmla="*/ 0 h 1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91" h="10858">
                    <a:moveTo>
                      <a:pt x="2148" y="0"/>
                    </a:moveTo>
                    <a:lnTo>
                      <a:pt x="10609" y="4073"/>
                    </a:lnTo>
                    <a:cubicBezTo>
                      <a:pt x="10770" y="6335"/>
                      <a:pt x="10930" y="8596"/>
                      <a:pt x="11091" y="10858"/>
                    </a:cubicBezTo>
                    <a:lnTo>
                      <a:pt x="0" y="5559"/>
                    </a:lnTo>
                    <a:lnTo>
                      <a:pt x="214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7" name="Freeform 20"/>
              <p:cNvSpPr>
                <a:spLocks/>
              </p:cNvSpPr>
              <p:nvPr/>
            </p:nvSpPr>
            <p:spPr bwMode="auto">
              <a:xfrm>
                <a:off x="5286488" y="4137238"/>
                <a:ext cx="226086" cy="206413"/>
              </a:xfrm>
              <a:custGeom>
                <a:avLst/>
                <a:gdLst>
                  <a:gd name="T0" fmla="*/ 0 w 1012"/>
                  <a:gd name="T1" fmla="*/ 606660 h 899"/>
                  <a:gd name="T2" fmla="*/ 1204893 w 1012"/>
                  <a:gd name="T3" fmla="*/ 0 h 899"/>
                  <a:gd name="T4" fmla="*/ 1636713 w 1012"/>
                  <a:gd name="T5" fmla="*/ 548053 h 899"/>
                  <a:gd name="T6" fmla="*/ 126150 w 1012"/>
                  <a:gd name="T7" fmla="*/ 1423987 h 899"/>
                  <a:gd name="T8" fmla="*/ 0 w 1012"/>
                  <a:gd name="T9" fmla="*/ 606660 h 89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12"/>
                  <a:gd name="T16" fmla="*/ 0 h 899"/>
                  <a:gd name="T17" fmla="*/ 1012 w 1012"/>
                  <a:gd name="T18" fmla="*/ 899 h 899"/>
                  <a:gd name="connsiteX0" fmla="*/ 0 w 10337"/>
                  <a:gd name="connsiteY0" fmla="*/ 4260 h 10000"/>
                  <a:gd name="connsiteX1" fmla="*/ 7362 w 10337"/>
                  <a:gd name="connsiteY1" fmla="*/ 0 h 10000"/>
                  <a:gd name="connsiteX2" fmla="*/ 10337 w 10337"/>
                  <a:gd name="connsiteY2" fmla="*/ 3849 h 10000"/>
                  <a:gd name="connsiteX3" fmla="*/ 771 w 10337"/>
                  <a:gd name="connsiteY3" fmla="*/ 10000 h 10000"/>
                  <a:gd name="connsiteX4" fmla="*/ 0 w 10337"/>
                  <a:gd name="connsiteY4" fmla="*/ 4260 h 10000"/>
                  <a:gd name="connsiteX0" fmla="*/ 0 w 10337"/>
                  <a:gd name="connsiteY0" fmla="*/ 4983 h 10723"/>
                  <a:gd name="connsiteX1" fmla="*/ 7952 w 10337"/>
                  <a:gd name="connsiteY1" fmla="*/ 0 h 10723"/>
                  <a:gd name="connsiteX2" fmla="*/ 10337 w 10337"/>
                  <a:gd name="connsiteY2" fmla="*/ 4572 h 10723"/>
                  <a:gd name="connsiteX3" fmla="*/ 771 w 10337"/>
                  <a:gd name="connsiteY3" fmla="*/ 10723 h 10723"/>
                  <a:gd name="connsiteX4" fmla="*/ 0 w 10337"/>
                  <a:gd name="connsiteY4" fmla="*/ 4983 h 10723"/>
                  <a:gd name="connsiteX0" fmla="*/ 0 w 11095"/>
                  <a:gd name="connsiteY0" fmla="*/ 4983 h 10723"/>
                  <a:gd name="connsiteX1" fmla="*/ 7952 w 11095"/>
                  <a:gd name="connsiteY1" fmla="*/ 0 h 10723"/>
                  <a:gd name="connsiteX2" fmla="*/ 11095 w 11095"/>
                  <a:gd name="connsiteY2" fmla="*/ 4365 h 10723"/>
                  <a:gd name="connsiteX3" fmla="*/ 771 w 11095"/>
                  <a:gd name="connsiteY3" fmla="*/ 10723 h 10723"/>
                  <a:gd name="connsiteX4" fmla="*/ 0 w 11095"/>
                  <a:gd name="connsiteY4" fmla="*/ 4983 h 10723"/>
                  <a:gd name="connsiteX0" fmla="*/ 0 w 11095"/>
                  <a:gd name="connsiteY0" fmla="*/ 4983 h 10723"/>
                  <a:gd name="connsiteX1" fmla="*/ 8205 w 11095"/>
                  <a:gd name="connsiteY1" fmla="*/ 0 h 10723"/>
                  <a:gd name="connsiteX2" fmla="*/ 11095 w 11095"/>
                  <a:gd name="connsiteY2" fmla="*/ 4365 h 10723"/>
                  <a:gd name="connsiteX3" fmla="*/ 771 w 11095"/>
                  <a:gd name="connsiteY3" fmla="*/ 10723 h 10723"/>
                  <a:gd name="connsiteX4" fmla="*/ 0 w 11095"/>
                  <a:gd name="connsiteY4" fmla="*/ 4983 h 10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95" h="10723">
                    <a:moveTo>
                      <a:pt x="0" y="4983"/>
                    </a:moveTo>
                    <a:lnTo>
                      <a:pt x="8205" y="0"/>
                    </a:lnTo>
                    <a:lnTo>
                      <a:pt x="11095" y="4365"/>
                    </a:lnTo>
                    <a:lnTo>
                      <a:pt x="771" y="10723"/>
                    </a:lnTo>
                    <a:lnTo>
                      <a:pt x="0" y="498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248" name="Freeform 21"/>
              <p:cNvSpPr>
                <a:spLocks/>
              </p:cNvSpPr>
              <p:nvPr/>
            </p:nvSpPr>
            <p:spPr bwMode="auto">
              <a:xfrm>
                <a:off x="5269294" y="4041924"/>
                <a:ext cx="167615" cy="155800"/>
              </a:xfrm>
              <a:custGeom>
                <a:avLst/>
                <a:gdLst>
                  <a:gd name="T0" fmla="*/ 0 w 648"/>
                  <a:gd name="T1" fmla="*/ 344973 h 588"/>
                  <a:gd name="T2" fmla="*/ 894115 w 648"/>
                  <a:gd name="T3" fmla="*/ 0 h 588"/>
                  <a:gd name="T4" fmla="*/ 1304925 w 648"/>
                  <a:gd name="T5" fmla="*/ 580183 h 588"/>
                  <a:gd name="T6" fmla="*/ 112771 w 648"/>
                  <a:gd name="T7" fmla="*/ 1152525 h 588"/>
                  <a:gd name="T8" fmla="*/ 0 w 648"/>
                  <a:gd name="T9" fmla="*/ 344973 h 5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48"/>
                  <a:gd name="T16" fmla="*/ 0 h 588"/>
                  <a:gd name="T17" fmla="*/ 648 w 648"/>
                  <a:gd name="T18" fmla="*/ 588 h 588"/>
                  <a:gd name="connsiteX0" fmla="*/ 0 w 10317"/>
                  <a:gd name="connsiteY0" fmla="*/ 2993 h 10000"/>
                  <a:gd name="connsiteX1" fmla="*/ 6852 w 10317"/>
                  <a:gd name="connsiteY1" fmla="*/ 0 h 10000"/>
                  <a:gd name="connsiteX2" fmla="*/ 10317 w 10317"/>
                  <a:gd name="connsiteY2" fmla="*/ 4524 h 10000"/>
                  <a:gd name="connsiteX3" fmla="*/ 864 w 10317"/>
                  <a:gd name="connsiteY3" fmla="*/ 10000 h 10000"/>
                  <a:gd name="connsiteX4" fmla="*/ 0 w 10317"/>
                  <a:gd name="connsiteY4" fmla="*/ 29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17" h="10000">
                    <a:moveTo>
                      <a:pt x="0" y="2993"/>
                    </a:moveTo>
                    <a:lnTo>
                      <a:pt x="6852" y="0"/>
                    </a:lnTo>
                    <a:lnTo>
                      <a:pt x="10317" y="4524"/>
                    </a:lnTo>
                    <a:lnTo>
                      <a:pt x="864" y="10000"/>
                    </a:lnTo>
                    <a:lnTo>
                      <a:pt x="0" y="299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</p:grpSp>
        <p:grpSp>
          <p:nvGrpSpPr>
            <p:cNvPr id="237" name="组合 236"/>
            <p:cNvGrpSpPr/>
            <p:nvPr/>
          </p:nvGrpSpPr>
          <p:grpSpPr>
            <a:xfrm>
              <a:off x="5256457" y="4204785"/>
              <a:ext cx="113987" cy="237909"/>
              <a:chOff x="5249314" y="4209547"/>
              <a:chExt cx="113987" cy="237909"/>
            </a:xfrm>
            <a:grpFill/>
          </p:grpSpPr>
          <p:sp>
            <p:nvSpPr>
              <p:cNvPr id="238" name="Text Box 65"/>
              <p:cNvSpPr txBox="1">
                <a:spLocks noChangeArrowheads="1"/>
              </p:cNvSpPr>
              <p:nvPr/>
            </p:nvSpPr>
            <p:spPr bwMode="auto">
              <a:xfrm rot="606389">
                <a:off x="5300784" y="4209547"/>
                <a:ext cx="62517" cy="307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>
                <a:defPPr>
                  <a:defRPr lang="en-US"/>
                </a:defPPr>
                <a:lvl1pPr algn="ctr" defTabSz="914323">
                  <a:defRPr sz="500" b="1" kern="0">
                    <a:solidFill>
                      <a:schemeClr val="bg1">
                        <a:lumMod val="9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en-US" altLang="zh-CN" sz="200">
                    <a:solidFill>
                      <a:prstClr val="white">
                        <a:lumMod val="95000"/>
                      </a:prstClr>
                    </a:solidFill>
                    <a:cs typeface="Arial" pitchFamily="34" charset="0"/>
                  </a:rPr>
                  <a:t>HCIE</a:t>
                </a:r>
              </a:p>
            </p:txBody>
          </p:sp>
          <p:sp>
            <p:nvSpPr>
              <p:cNvPr id="239" name="Text Box 66"/>
              <p:cNvSpPr txBox="1">
                <a:spLocks noChangeArrowheads="1"/>
              </p:cNvSpPr>
              <p:nvPr/>
            </p:nvSpPr>
            <p:spPr bwMode="auto">
              <a:xfrm rot="626379">
                <a:off x="5280402" y="4322882"/>
                <a:ext cx="64120" cy="307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>
                <a:defPPr>
                  <a:defRPr lang="en-US"/>
                </a:defPPr>
                <a:lvl1pPr algn="ctr" defTabSz="914323">
                  <a:defRPr sz="500" b="1" kern="0">
                    <a:solidFill>
                      <a:schemeClr val="bg1">
                        <a:lumMod val="9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en-US" altLang="zh-CN" sz="200">
                    <a:solidFill>
                      <a:prstClr val="white">
                        <a:lumMod val="95000"/>
                      </a:prstClr>
                    </a:solidFill>
                    <a:cs typeface="Arial" pitchFamily="34" charset="0"/>
                  </a:rPr>
                  <a:t>HCIP</a:t>
                </a:r>
              </a:p>
            </p:txBody>
          </p:sp>
          <p:sp>
            <p:nvSpPr>
              <p:cNvPr id="240" name="Text Box 67"/>
              <p:cNvSpPr txBox="1">
                <a:spLocks noChangeArrowheads="1"/>
              </p:cNvSpPr>
              <p:nvPr/>
            </p:nvSpPr>
            <p:spPr bwMode="auto">
              <a:xfrm rot="763715">
                <a:off x="5249314" y="4416678"/>
                <a:ext cx="65724" cy="307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14323">
                  <a:defRPr/>
                </a:pPr>
                <a:r>
                  <a:rPr lang="en-US" altLang="zh-CN" sz="200" b="1">
                    <a:solidFill>
                      <a:prstClr val="white">
                        <a:lumMod val="9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HCIA</a:t>
                </a:r>
              </a:p>
            </p:txBody>
          </p:sp>
        </p:grpSp>
      </p:grpSp>
      <p:sp>
        <p:nvSpPr>
          <p:cNvPr id="249" name="椭圆 248"/>
          <p:cNvSpPr/>
          <p:nvPr/>
        </p:nvSpPr>
        <p:spPr>
          <a:xfrm>
            <a:off x="6646182" y="4232392"/>
            <a:ext cx="584459" cy="584459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700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250" name="Freeform 11"/>
          <p:cNvSpPr>
            <a:spLocks noEditPoints="1"/>
          </p:cNvSpPr>
          <p:nvPr/>
        </p:nvSpPr>
        <p:spPr bwMode="auto">
          <a:xfrm>
            <a:off x="6697555" y="4339542"/>
            <a:ext cx="481713" cy="337892"/>
          </a:xfrm>
          <a:custGeom>
            <a:avLst/>
            <a:gdLst/>
            <a:ahLst/>
            <a:cxnLst>
              <a:cxn ang="0">
                <a:pos x="243" y="662"/>
              </a:cxn>
              <a:cxn ang="0">
                <a:pos x="354" y="586"/>
              </a:cxn>
              <a:cxn ang="0">
                <a:pos x="389" y="471"/>
              </a:cxn>
              <a:cxn ang="0">
                <a:pos x="443" y="379"/>
              </a:cxn>
              <a:cxn ang="0">
                <a:pos x="293" y="322"/>
              </a:cxn>
              <a:cxn ang="0">
                <a:pos x="268" y="295"/>
              </a:cxn>
              <a:cxn ang="0">
                <a:pos x="430" y="279"/>
              </a:cxn>
              <a:cxn ang="0">
                <a:pos x="553" y="351"/>
              </a:cxn>
              <a:cxn ang="0">
                <a:pos x="537" y="420"/>
              </a:cxn>
              <a:cxn ang="0">
                <a:pos x="588" y="461"/>
              </a:cxn>
              <a:cxn ang="0">
                <a:pos x="545" y="485"/>
              </a:cxn>
              <a:cxn ang="0">
                <a:pos x="475" y="628"/>
              </a:cxn>
              <a:cxn ang="0">
                <a:pos x="316" y="697"/>
              </a:cxn>
              <a:cxn ang="0">
                <a:pos x="315" y="632"/>
              </a:cxn>
              <a:cxn ang="0">
                <a:pos x="648" y="535"/>
              </a:cxn>
              <a:cxn ang="0">
                <a:pos x="30" y="842"/>
              </a:cxn>
              <a:cxn ang="0">
                <a:pos x="659" y="395"/>
              </a:cxn>
              <a:cxn ang="0">
                <a:pos x="284" y="469"/>
              </a:cxn>
              <a:cxn ang="0">
                <a:pos x="237" y="647"/>
              </a:cxn>
              <a:cxn ang="0">
                <a:pos x="201" y="656"/>
              </a:cxn>
              <a:cxn ang="0">
                <a:pos x="431" y="534"/>
              </a:cxn>
              <a:cxn ang="0">
                <a:pos x="441" y="374"/>
              </a:cxn>
              <a:cxn ang="0">
                <a:pos x="695" y="375"/>
              </a:cxn>
              <a:cxn ang="0">
                <a:pos x="409" y="410"/>
              </a:cxn>
              <a:cxn ang="0">
                <a:pos x="265" y="575"/>
              </a:cxn>
              <a:cxn ang="0">
                <a:pos x="388" y="344"/>
              </a:cxn>
              <a:cxn ang="0">
                <a:pos x="1182" y="94"/>
              </a:cxn>
              <a:cxn ang="0">
                <a:pos x="286" y="222"/>
              </a:cxn>
              <a:cxn ang="0">
                <a:pos x="406" y="179"/>
              </a:cxn>
              <a:cxn ang="0">
                <a:pos x="323" y="107"/>
              </a:cxn>
              <a:cxn ang="0">
                <a:pos x="355" y="174"/>
              </a:cxn>
              <a:cxn ang="0">
                <a:pos x="342" y="177"/>
              </a:cxn>
              <a:cxn ang="0">
                <a:pos x="320" y="54"/>
              </a:cxn>
              <a:cxn ang="0">
                <a:pos x="446" y="147"/>
              </a:cxn>
              <a:cxn ang="0">
                <a:pos x="410" y="195"/>
              </a:cxn>
              <a:cxn ang="0">
                <a:pos x="364" y="125"/>
              </a:cxn>
              <a:cxn ang="0">
                <a:pos x="497" y="252"/>
              </a:cxn>
              <a:cxn ang="0">
                <a:pos x="616" y="250"/>
              </a:cxn>
              <a:cxn ang="0">
                <a:pos x="829" y="151"/>
              </a:cxn>
              <a:cxn ang="0">
                <a:pos x="896" y="143"/>
              </a:cxn>
              <a:cxn ang="0">
                <a:pos x="961" y="250"/>
              </a:cxn>
              <a:cxn ang="0">
                <a:pos x="1156" y="237"/>
              </a:cxn>
              <a:cxn ang="0">
                <a:pos x="1206" y="374"/>
              </a:cxn>
              <a:cxn ang="0">
                <a:pos x="764" y="344"/>
              </a:cxn>
              <a:cxn ang="0">
                <a:pos x="829" y="373"/>
              </a:cxn>
              <a:cxn ang="0">
                <a:pos x="865" y="337"/>
              </a:cxn>
              <a:cxn ang="0">
                <a:pos x="862" y="388"/>
              </a:cxn>
              <a:cxn ang="0">
                <a:pos x="821" y="285"/>
              </a:cxn>
              <a:cxn ang="0">
                <a:pos x="911" y="434"/>
              </a:cxn>
              <a:cxn ang="0">
                <a:pos x="1031" y="395"/>
              </a:cxn>
              <a:cxn ang="0">
                <a:pos x="1141" y="434"/>
              </a:cxn>
              <a:cxn ang="0">
                <a:pos x="351" y="203"/>
              </a:cxn>
              <a:cxn ang="0">
                <a:pos x="1259" y="463"/>
              </a:cxn>
              <a:cxn ang="0">
                <a:pos x="653" y="683"/>
              </a:cxn>
              <a:cxn ang="0">
                <a:pos x="740" y="509"/>
              </a:cxn>
              <a:cxn ang="0">
                <a:pos x="740" y="520"/>
              </a:cxn>
              <a:cxn ang="0">
                <a:pos x="848" y="463"/>
              </a:cxn>
              <a:cxn ang="0">
                <a:pos x="982" y="579"/>
              </a:cxn>
              <a:cxn ang="0">
                <a:pos x="1142" y="618"/>
              </a:cxn>
              <a:cxn ang="0">
                <a:pos x="711" y="516"/>
              </a:cxn>
              <a:cxn ang="0">
                <a:pos x="703" y="532"/>
              </a:cxn>
              <a:cxn ang="0">
                <a:pos x="386" y="50"/>
              </a:cxn>
            </a:cxnLst>
            <a:rect l="0" t="0" r="r" b="b"/>
            <a:pathLst>
              <a:path w="1266" h="888">
                <a:moveTo>
                  <a:pt x="316" y="697"/>
                </a:moveTo>
                <a:cubicBezTo>
                  <a:pt x="321" y="695"/>
                  <a:pt x="326" y="693"/>
                  <a:pt x="332" y="690"/>
                </a:cubicBezTo>
                <a:cubicBezTo>
                  <a:pt x="324" y="688"/>
                  <a:pt x="317" y="687"/>
                  <a:pt x="310" y="686"/>
                </a:cubicBezTo>
                <a:cubicBezTo>
                  <a:pt x="310" y="686"/>
                  <a:pt x="309" y="686"/>
                  <a:pt x="309" y="687"/>
                </a:cubicBezTo>
                <a:cubicBezTo>
                  <a:pt x="311" y="688"/>
                  <a:pt x="313" y="689"/>
                  <a:pt x="315" y="691"/>
                </a:cubicBezTo>
                <a:cubicBezTo>
                  <a:pt x="308" y="695"/>
                  <a:pt x="302" y="699"/>
                  <a:pt x="297" y="702"/>
                </a:cubicBezTo>
                <a:cubicBezTo>
                  <a:pt x="298" y="706"/>
                  <a:pt x="300" y="710"/>
                  <a:pt x="300" y="714"/>
                </a:cubicBezTo>
                <a:cubicBezTo>
                  <a:pt x="302" y="723"/>
                  <a:pt x="302" y="733"/>
                  <a:pt x="304" y="742"/>
                </a:cubicBezTo>
                <a:cubicBezTo>
                  <a:pt x="306" y="748"/>
                  <a:pt x="310" y="753"/>
                  <a:pt x="313" y="759"/>
                </a:cubicBezTo>
                <a:cubicBezTo>
                  <a:pt x="314" y="760"/>
                  <a:pt x="314" y="760"/>
                  <a:pt x="315" y="762"/>
                </a:cubicBezTo>
                <a:cubicBezTo>
                  <a:pt x="309" y="763"/>
                  <a:pt x="304" y="764"/>
                  <a:pt x="300" y="764"/>
                </a:cubicBezTo>
                <a:cubicBezTo>
                  <a:pt x="298" y="764"/>
                  <a:pt x="296" y="763"/>
                  <a:pt x="295" y="763"/>
                </a:cubicBezTo>
                <a:cubicBezTo>
                  <a:pt x="288" y="757"/>
                  <a:pt x="280" y="751"/>
                  <a:pt x="273" y="744"/>
                </a:cubicBezTo>
                <a:cubicBezTo>
                  <a:pt x="270" y="741"/>
                  <a:pt x="268" y="736"/>
                  <a:pt x="267" y="732"/>
                </a:cubicBezTo>
                <a:cubicBezTo>
                  <a:pt x="264" y="721"/>
                  <a:pt x="261" y="710"/>
                  <a:pt x="257" y="700"/>
                </a:cubicBezTo>
                <a:cubicBezTo>
                  <a:pt x="256" y="697"/>
                  <a:pt x="255" y="693"/>
                  <a:pt x="253" y="691"/>
                </a:cubicBezTo>
                <a:cubicBezTo>
                  <a:pt x="246" y="684"/>
                  <a:pt x="245" y="675"/>
                  <a:pt x="242" y="667"/>
                </a:cubicBezTo>
                <a:cubicBezTo>
                  <a:pt x="242" y="665"/>
                  <a:pt x="242" y="663"/>
                  <a:pt x="243" y="662"/>
                </a:cubicBezTo>
                <a:cubicBezTo>
                  <a:pt x="253" y="653"/>
                  <a:pt x="266" y="656"/>
                  <a:pt x="277" y="661"/>
                </a:cubicBezTo>
                <a:cubicBezTo>
                  <a:pt x="278" y="662"/>
                  <a:pt x="279" y="663"/>
                  <a:pt x="280" y="663"/>
                </a:cubicBezTo>
                <a:cubicBezTo>
                  <a:pt x="289" y="662"/>
                  <a:pt x="298" y="661"/>
                  <a:pt x="306" y="660"/>
                </a:cubicBezTo>
                <a:cubicBezTo>
                  <a:pt x="306" y="660"/>
                  <a:pt x="306" y="659"/>
                  <a:pt x="306" y="659"/>
                </a:cubicBezTo>
                <a:cubicBezTo>
                  <a:pt x="294" y="659"/>
                  <a:pt x="294" y="659"/>
                  <a:pt x="294" y="659"/>
                </a:cubicBezTo>
                <a:cubicBezTo>
                  <a:pt x="294" y="658"/>
                  <a:pt x="294" y="658"/>
                  <a:pt x="294" y="658"/>
                </a:cubicBezTo>
                <a:cubicBezTo>
                  <a:pt x="303" y="656"/>
                  <a:pt x="312" y="654"/>
                  <a:pt x="321" y="652"/>
                </a:cubicBezTo>
                <a:cubicBezTo>
                  <a:pt x="337" y="650"/>
                  <a:pt x="352" y="647"/>
                  <a:pt x="368" y="644"/>
                </a:cubicBezTo>
                <a:cubicBezTo>
                  <a:pt x="372" y="644"/>
                  <a:pt x="373" y="645"/>
                  <a:pt x="375" y="648"/>
                </a:cubicBezTo>
                <a:cubicBezTo>
                  <a:pt x="378" y="652"/>
                  <a:pt x="380" y="657"/>
                  <a:pt x="387" y="654"/>
                </a:cubicBezTo>
                <a:cubicBezTo>
                  <a:pt x="384" y="652"/>
                  <a:pt x="382" y="651"/>
                  <a:pt x="380" y="649"/>
                </a:cubicBezTo>
                <a:cubicBezTo>
                  <a:pt x="387" y="643"/>
                  <a:pt x="394" y="637"/>
                  <a:pt x="401" y="632"/>
                </a:cubicBezTo>
                <a:cubicBezTo>
                  <a:pt x="402" y="631"/>
                  <a:pt x="405" y="631"/>
                  <a:pt x="407" y="632"/>
                </a:cubicBezTo>
                <a:cubicBezTo>
                  <a:pt x="413" y="634"/>
                  <a:pt x="420" y="636"/>
                  <a:pt x="426" y="638"/>
                </a:cubicBezTo>
                <a:cubicBezTo>
                  <a:pt x="428" y="629"/>
                  <a:pt x="428" y="629"/>
                  <a:pt x="420" y="628"/>
                </a:cubicBezTo>
                <a:cubicBezTo>
                  <a:pt x="416" y="627"/>
                  <a:pt x="412" y="626"/>
                  <a:pt x="408" y="625"/>
                </a:cubicBezTo>
                <a:cubicBezTo>
                  <a:pt x="396" y="624"/>
                  <a:pt x="389" y="615"/>
                  <a:pt x="381" y="608"/>
                </a:cubicBezTo>
                <a:cubicBezTo>
                  <a:pt x="371" y="602"/>
                  <a:pt x="363" y="594"/>
                  <a:pt x="354" y="586"/>
                </a:cubicBezTo>
                <a:cubicBezTo>
                  <a:pt x="346" y="580"/>
                  <a:pt x="344" y="570"/>
                  <a:pt x="349" y="562"/>
                </a:cubicBezTo>
                <a:cubicBezTo>
                  <a:pt x="354" y="553"/>
                  <a:pt x="358" y="544"/>
                  <a:pt x="362" y="534"/>
                </a:cubicBezTo>
                <a:cubicBezTo>
                  <a:pt x="360" y="537"/>
                  <a:pt x="358" y="540"/>
                  <a:pt x="356" y="543"/>
                </a:cubicBezTo>
                <a:cubicBezTo>
                  <a:pt x="351" y="548"/>
                  <a:pt x="347" y="554"/>
                  <a:pt x="342" y="559"/>
                </a:cubicBezTo>
                <a:cubicBezTo>
                  <a:pt x="339" y="562"/>
                  <a:pt x="339" y="565"/>
                  <a:pt x="340" y="568"/>
                </a:cubicBezTo>
                <a:cubicBezTo>
                  <a:pt x="341" y="572"/>
                  <a:pt x="342" y="575"/>
                  <a:pt x="343" y="579"/>
                </a:cubicBezTo>
                <a:cubicBezTo>
                  <a:pt x="327" y="567"/>
                  <a:pt x="311" y="556"/>
                  <a:pt x="295" y="545"/>
                </a:cubicBezTo>
                <a:cubicBezTo>
                  <a:pt x="303" y="533"/>
                  <a:pt x="311" y="521"/>
                  <a:pt x="319" y="509"/>
                </a:cubicBezTo>
                <a:cubicBezTo>
                  <a:pt x="322" y="504"/>
                  <a:pt x="326" y="503"/>
                  <a:pt x="332" y="503"/>
                </a:cubicBezTo>
                <a:cubicBezTo>
                  <a:pt x="345" y="504"/>
                  <a:pt x="359" y="504"/>
                  <a:pt x="373" y="504"/>
                </a:cubicBezTo>
                <a:cubicBezTo>
                  <a:pt x="376" y="504"/>
                  <a:pt x="379" y="502"/>
                  <a:pt x="382" y="502"/>
                </a:cubicBezTo>
                <a:cubicBezTo>
                  <a:pt x="382" y="501"/>
                  <a:pt x="382" y="501"/>
                  <a:pt x="382" y="500"/>
                </a:cubicBezTo>
                <a:cubicBezTo>
                  <a:pt x="383" y="502"/>
                  <a:pt x="384" y="503"/>
                  <a:pt x="387" y="505"/>
                </a:cubicBezTo>
                <a:cubicBezTo>
                  <a:pt x="389" y="502"/>
                  <a:pt x="392" y="499"/>
                  <a:pt x="395" y="495"/>
                </a:cubicBezTo>
                <a:cubicBezTo>
                  <a:pt x="374" y="497"/>
                  <a:pt x="355" y="498"/>
                  <a:pt x="335" y="500"/>
                </a:cubicBezTo>
                <a:cubicBezTo>
                  <a:pt x="335" y="500"/>
                  <a:pt x="335" y="500"/>
                  <a:pt x="335" y="499"/>
                </a:cubicBezTo>
                <a:cubicBezTo>
                  <a:pt x="345" y="494"/>
                  <a:pt x="356" y="488"/>
                  <a:pt x="367" y="483"/>
                </a:cubicBezTo>
                <a:cubicBezTo>
                  <a:pt x="374" y="479"/>
                  <a:pt x="382" y="475"/>
                  <a:pt x="389" y="471"/>
                </a:cubicBezTo>
                <a:cubicBezTo>
                  <a:pt x="395" y="468"/>
                  <a:pt x="401" y="466"/>
                  <a:pt x="407" y="467"/>
                </a:cubicBezTo>
                <a:cubicBezTo>
                  <a:pt x="409" y="467"/>
                  <a:pt x="411" y="467"/>
                  <a:pt x="413" y="466"/>
                </a:cubicBezTo>
                <a:cubicBezTo>
                  <a:pt x="405" y="465"/>
                  <a:pt x="398" y="464"/>
                  <a:pt x="390" y="463"/>
                </a:cubicBezTo>
                <a:cubicBezTo>
                  <a:pt x="390" y="463"/>
                  <a:pt x="390" y="462"/>
                  <a:pt x="390" y="462"/>
                </a:cubicBezTo>
                <a:cubicBezTo>
                  <a:pt x="395" y="459"/>
                  <a:pt x="400" y="457"/>
                  <a:pt x="405" y="455"/>
                </a:cubicBezTo>
                <a:cubicBezTo>
                  <a:pt x="406" y="454"/>
                  <a:pt x="408" y="454"/>
                  <a:pt x="409" y="453"/>
                </a:cubicBezTo>
                <a:cubicBezTo>
                  <a:pt x="423" y="443"/>
                  <a:pt x="438" y="445"/>
                  <a:pt x="454" y="449"/>
                </a:cubicBezTo>
                <a:cubicBezTo>
                  <a:pt x="455" y="449"/>
                  <a:pt x="455" y="449"/>
                  <a:pt x="456" y="449"/>
                </a:cubicBezTo>
                <a:cubicBezTo>
                  <a:pt x="457" y="449"/>
                  <a:pt x="457" y="449"/>
                  <a:pt x="458" y="449"/>
                </a:cubicBezTo>
                <a:cubicBezTo>
                  <a:pt x="447" y="445"/>
                  <a:pt x="437" y="442"/>
                  <a:pt x="427" y="438"/>
                </a:cubicBezTo>
                <a:cubicBezTo>
                  <a:pt x="426" y="438"/>
                  <a:pt x="424" y="439"/>
                  <a:pt x="423" y="440"/>
                </a:cubicBezTo>
                <a:cubicBezTo>
                  <a:pt x="421" y="442"/>
                  <a:pt x="420" y="443"/>
                  <a:pt x="418" y="445"/>
                </a:cubicBezTo>
                <a:cubicBezTo>
                  <a:pt x="416" y="435"/>
                  <a:pt x="421" y="428"/>
                  <a:pt x="427" y="420"/>
                </a:cubicBezTo>
                <a:cubicBezTo>
                  <a:pt x="443" y="427"/>
                  <a:pt x="459" y="434"/>
                  <a:pt x="475" y="442"/>
                </a:cubicBezTo>
                <a:cubicBezTo>
                  <a:pt x="475" y="441"/>
                  <a:pt x="475" y="441"/>
                  <a:pt x="475" y="441"/>
                </a:cubicBezTo>
                <a:cubicBezTo>
                  <a:pt x="458" y="430"/>
                  <a:pt x="441" y="419"/>
                  <a:pt x="424" y="408"/>
                </a:cubicBezTo>
                <a:cubicBezTo>
                  <a:pt x="429" y="398"/>
                  <a:pt x="434" y="389"/>
                  <a:pt x="439" y="380"/>
                </a:cubicBezTo>
                <a:cubicBezTo>
                  <a:pt x="439" y="379"/>
                  <a:pt x="442" y="378"/>
                  <a:pt x="443" y="379"/>
                </a:cubicBezTo>
                <a:cubicBezTo>
                  <a:pt x="455" y="379"/>
                  <a:pt x="467" y="380"/>
                  <a:pt x="479" y="381"/>
                </a:cubicBezTo>
                <a:cubicBezTo>
                  <a:pt x="483" y="381"/>
                  <a:pt x="484" y="383"/>
                  <a:pt x="485" y="386"/>
                </a:cubicBezTo>
                <a:cubicBezTo>
                  <a:pt x="485" y="390"/>
                  <a:pt x="486" y="394"/>
                  <a:pt x="488" y="398"/>
                </a:cubicBezTo>
                <a:cubicBezTo>
                  <a:pt x="490" y="383"/>
                  <a:pt x="492" y="368"/>
                  <a:pt x="494" y="353"/>
                </a:cubicBezTo>
                <a:cubicBezTo>
                  <a:pt x="493" y="353"/>
                  <a:pt x="493" y="353"/>
                  <a:pt x="492" y="353"/>
                </a:cubicBezTo>
                <a:cubicBezTo>
                  <a:pt x="490" y="361"/>
                  <a:pt x="488" y="369"/>
                  <a:pt x="486" y="379"/>
                </a:cubicBezTo>
                <a:cubicBezTo>
                  <a:pt x="477" y="375"/>
                  <a:pt x="468" y="371"/>
                  <a:pt x="459" y="367"/>
                </a:cubicBezTo>
                <a:cubicBezTo>
                  <a:pt x="461" y="369"/>
                  <a:pt x="463" y="371"/>
                  <a:pt x="465" y="374"/>
                </a:cubicBezTo>
                <a:cubicBezTo>
                  <a:pt x="457" y="374"/>
                  <a:pt x="450" y="373"/>
                  <a:pt x="443" y="372"/>
                </a:cubicBezTo>
                <a:cubicBezTo>
                  <a:pt x="443" y="367"/>
                  <a:pt x="443" y="362"/>
                  <a:pt x="442" y="357"/>
                </a:cubicBezTo>
                <a:cubicBezTo>
                  <a:pt x="442" y="356"/>
                  <a:pt x="440" y="354"/>
                  <a:pt x="439" y="352"/>
                </a:cubicBezTo>
                <a:cubicBezTo>
                  <a:pt x="437" y="349"/>
                  <a:pt x="435" y="346"/>
                  <a:pt x="433" y="343"/>
                </a:cubicBezTo>
                <a:cubicBezTo>
                  <a:pt x="427" y="336"/>
                  <a:pt x="422" y="330"/>
                  <a:pt x="416" y="323"/>
                </a:cubicBezTo>
                <a:cubicBezTo>
                  <a:pt x="415" y="322"/>
                  <a:pt x="415" y="320"/>
                  <a:pt x="415" y="318"/>
                </a:cubicBezTo>
                <a:cubicBezTo>
                  <a:pt x="415" y="318"/>
                  <a:pt x="416" y="317"/>
                  <a:pt x="416" y="317"/>
                </a:cubicBezTo>
                <a:cubicBezTo>
                  <a:pt x="415" y="317"/>
                  <a:pt x="414" y="317"/>
                  <a:pt x="413" y="317"/>
                </a:cubicBezTo>
                <a:cubicBezTo>
                  <a:pt x="375" y="317"/>
                  <a:pt x="338" y="318"/>
                  <a:pt x="301" y="318"/>
                </a:cubicBezTo>
                <a:cubicBezTo>
                  <a:pt x="298" y="318"/>
                  <a:pt x="295" y="319"/>
                  <a:pt x="293" y="322"/>
                </a:cubicBezTo>
                <a:cubicBezTo>
                  <a:pt x="289" y="328"/>
                  <a:pt x="284" y="333"/>
                  <a:pt x="280" y="338"/>
                </a:cubicBezTo>
                <a:cubicBezTo>
                  <a:pt x="278" y="339"/>
                  <a:pt x="276" y="340"/>
                  <a:pt x="274" y="340"/>
                </a:cubicBezTo>
                <a:cubicBezTo>
                  <a:pt x="270" y="339"/>
                  <a:pt x="267" y="338"/>
                  <a:pt x="264" y="336"/>
                </a:cubicBezTo>
                <a:cubicBezTo>
                  <a:pt x="265" y="333"/>
                  <a:pt x="266" y="331"/>
                  <a:pt x="267" y="327"/>
                </a:cubicBezTo>
                <a:cubicBezTo>
                  <a:pt x="256" y="332"/>
                  <a:pt x="247" y="336"/>
                  <a:pt x="238" y="340"/>
                </a:cubicBezTo>
                <a:cubicBezTo>
                  <a:pt x="236" y="336"/>
                  <a:pt x="237" y="332"/>
                  <a:pt x="241" y="329"/>
                </a:cubicBezTo>
                <a:cubicBezTo>
                  <a:pt x="244" y="327"/>
                  <a:pt x="247" y="324"/>
                  <a:pt x="250" y="322"/>
                </a:cubicBezTo>
                <a:cubicBezTo>
                  <a:pt x="250" y="321"/>
                  <a:pt x="250" y="321"/>
                  <a:pt x="249" y="320"/>
                </a:cubicBezTo>
                <a:cubicBezTo>
                  <a:pt x="241" y="325"/>
                  <a:pt x="233" y="329"/>
                  <a:pt x="224" y="334"/>
                </a:cubicBezTo>
                <a:cubicBezTo>
                  <a:pt x="228" y="325"/>
                  <a:pt x="232" y="317"/>
                  <a:pt x="235" y="308"/>
                </a:cubicBezTo>
                <a:cubicBezTo>
                  <a:pt x="236" y="308"/>
                  <a:pt x="236" y="309"/>
                  <a:pt x="237" y="309"/>
                </a:cubicBezTo>
                <a:cubicBezTo>
                  <a:pt x="236" y="313"/>
                  <a:pt x="235" y="317"/>
                  <a:pt x="235" y="322"/>
                </a:cubicBezTo>
                <a:cubicBezTo>
                  <a:pt x="235" y="322"/>
                  <a:pt x="235" y="322"/>
                  <a:pt x="235" y="322"/>
                </a:cubicBezTo>
                <a:cubicBezTo>
                  <a:pt x="237" y="317"/>
                  <a:pt x="239" y="312"/>
                  <a:pt x="240" y="307"/>
                </a:cubicBezTo>
                <a:cubicBezTo>
                  <a:pt x="241" y="303"/>
                  <a:pt x="243" y="301"/>
                  <a:pt x="247" y="300"/>
                </a:cubicBezTo>
                <a:cubicBezTo>
                  <a:pt x="249" y="300"/>
                  <a:pt x="251" y="299"/>
                  <a:pt x="253" y="299"/>
                </a:cubicBezTo>
                <a:cubicBezTo>
                  <a:pt x="255" y="299"/>
                  <a:pt x="256" y="299"/>
                  <a:pt x="259" y="300"/>
                </a:cubicBezTo>
                <a:cubicBezTo>
                  <a:pt x="260" y="296"/>
                  <a:pt x="263" y="295"/>
                  <a:pt x="268" y="295"/>
                </a:cubicBezTo>
                <a:cubicBezTo>
                  <a:pt x="274" y="295"/>
                  <a:pt x="280" y="294"/>
                  <a:pt x="286" y="295"/>
                </a:cubicBezTo>
                <a:cubicBezTo>
                  <a:pt x="288" y="295"/>
                  <a:pt x="290" y="297"/>
                  <a:pt x="291" y="298"/>
                </a:cubicBezTo>
                <a:cubicBezTo>
                  <a:pt x="293" y="296"/>
                  <a:pt x="295" y="293"/>
                  <a:pt x="297" y="291"/>
                </a:cubicBezTo>
                <a:cubicBezTo>
                  <a:pt x="298" y="291"/>
                  <a:pt x="299" y="292"/>
                  <a:pt x="299" y="292"/>
                </a:cubicBezTo>
                <a:cubicBezTo>
                  <a:pt x="298" y="297"/>
                  <a:pt x="297" y="303"/>
                  <a:pt x="295" y="308"/>
                </a:cubicBezTo>
                <a:cubicBezTo>
                  <a:pt x="296" y="308"/>
                  <a:pt x="296" y="309"/>
                  <a:pt x="297" y="309"/>
                </a:cubicBezTo>
                <a:cubicBezTo>
                  <a:pt x="298" y="306"/>
                  <a:pt x="299" y="304"/>
                  <a:pt x="299" y="301"/>
                </a:cubicBezTo>
                <a:cubicBezTo>
                  <a:pt x="300" y="298"/>
                  <a:pt x="302" y="296"/>
                  <a:pt x="305" y="296"/>
                </a:cubicBezTo>
                <a:cubicBezTo>
                  <a:pt x="332" y="290"/>
                  <a:pt x="358" y="285"/>
                  <a:pt x="384" y="280"/>
                </a:cubicBezTo>
                <a:cubicBezTo>
                  <a:pt x="390" y="279"/>
                  <a:pt x="396" y="278"/>
                  <a:pt x="402" y="276"/>
                </a:cubicBezTo>
                <a:cubicBezTo>
                  <a:pt x="402" y="279"/>
                  <a:pt x="401" y="281"/>
                  <a:pt x="401" y="283"/>
                </a:cubicBezTo>
                <a:cubicBezTo>
                  <a:pt x="404" y="283"/>
                  <a:pt x="406" y="282"/>
                  <a:pt x="409" y="282"/>
                </a:cubicBezTo>
                <a:cubicBezTo>
                  <a:pt x="408" y="278"/>
                  <a:pt x="407" y="276"/>
                  <a:pt x="406" y="271"/>
                </a:cubicBezTo>
                <a:cubicBezTo>
                  <a:pt x="412" y="277"/>
                  <a:pt x="420" y="277"/>
                  <a:pt x="422" y="286"/>
                </a:cubicBezTo>
                <a:cubicBezTo>
                  <a:pt x="423" y="284"/>
                  <a:pt x="424" y="283"/>
                  <a:pt x="424" y="282"/>
                </a:cubicBezTo>
                <a:cubicBezTo>
                  <a:pt x="427" y="292"/>
                  <a:pt x="429" y="302"/>
                  <a:pt x="432" y="312"/>
                </a:cubicBezTo>
                <a:cubicBezTo>
                  <a:pt x="432" y="312"/>
                  <a:pt x="433" y="312"/>
                  <a:pt x="433" y="312"/>
                </a:cubicBezTo>
                <a:cubicBezTo>
                  <a:pt x="432" y="301"/>
                  <a:pt x="431" y="291"/>
                  <a:pt x="430" y="279"/>
                </a:cubicBezTo>
                <a:cubicBezTo>
                  <a:pt x="450" y="304"/>
                  <a:pt x="459" y="333"/>
                  <a:pt x="475" y="360"/>
                </a:cubicBezTo>
                <a:cubicBezTo>
                  <a:pt x="466" y="358"/>
                  <a:pt x="459" y="357"/>
                  <a:pt x="451" y="355"/>
                </a:cubicBezTo>
                <a:cubicBezTo>
                  <a:pt x="451" y="356"/>
                  <a:pt x="451" y="356"/>
                  <a:pt x="451" y="357"/>
                </a:cubicBezTo>
                <a:cubicBezTo>
                  <a:pt x="454" y="358"/>
                  <a:pt x="458" y="360"/>
                  <a:pt x="461" y="361"/>
                </a:cubicBezTo>
                <a:cubicBezTo>
                  <a:pt x="471" y="362"/>
                  <a:pt x="479" y="365"/>
                  <a:pt x="484" y="375"/>
                </a:cubicBezTo>
                <a:cubicBezTo>
                  <a:pt x="484" y="375"/>
                  <a:pt x="485" y="375"/>
                  <a:pt x="486" y="376"/>
                </a:cubicBezTo>
                <a:cubicBezTo>
                  <a:pt x="476" y="342"/>
                  <a:pt x="459" y="314"/>
                  <a:pt x="439" y="286"/>
                </a:cubicBezTo>
                <a:cubicBezTo>
                  <a:pt x="443" y="286"/>
                  <a:pt x="448" y="286"/>
                  <a:pt x="452" y="286"/>
                </a:cubicBezTo>
                <a:cubicBezTo>
                  <a:pt x="457" y="285"/>
                  <a:pt x="460" y="288"/>
                  <a:pt x="463" y="292"/>
                </a:cubicBezTo>
                <a:cubicBezTo>
                  <a:pt x="473" y="303"/>
                  <a:pt x="484" y="313"/>
                  <a:pt x="492" y="325"/>
                </a:cubicBezTo>
                <a:cubicBezTo>
                  <a:pt x="498" y="334"/>
                  <a:pt x="506" y="336"/>
                  <a:pt x="514" y="338"/>
                </a:cubicBezTo>
                <a:cubicBezTo>
                  <a:pt x="521" y="341"/>
                  <a:pt x="529" y="341"/>
                  <a:pt x="534" y="345"/>
                </a:cubicBezTo>
                <a:cubicBezTo>
                  <a:pt x="538" y="349"/>
                  <a:pt x="538" y="358"/>
                  <a:pt x="539" y="365"/>
                </a:cubicBezTo>
                <a:cubicBezTo>
                  <a:pt x="541" y="369"/>
                  <a:pt x="541" y="374"/>
                  <a:pt x="543" y="378"/>
                </a:cubicBezTo>
                <a:cubicBezTo>
                  <a:pt x="543" y="381"/>
                  <a:pt x="543" y="384"/>
                  <a:pt x="547" y="383"/>
                </a:cubicBezTo>
                <a:cubicBezTo>
                  <a:pt x="552" y="382"/>
                  <a:pt x="549" y="379"/>
                  <a:pt x="549" y="377"/>
                </a:cubicBezTo>
                <a:cubicBezTo>
                  <a:pt x="549" y="374"/>
                  <a:pt x="549" y="371"/>
                  <a:pt x="548" y="368"/>
                </a:cubicBezTo>
                <a:cubicBezTo>
                  <a:pt x="546" y="361"/>
                  <a:pt x="549" y="356"/>
                  <a:pt x="553" y="351"/>
                </a:cubicBezTo>
                <a:cubicBezTo>
                  <a:pt x="555" y="349"/>
                  <a:pt x="557" y="347"/>
                  <a:pt x="559" y="344"/>
                </a:cubicBezTo>
                <a:cubicBezTo>
                  <a:pt x="565" y="333"/>
                  <a:pt x="575" y="330"/>
                  <a:pt x="587" y="329"/>
                </a:cubicBezTo>
                <a:cubicBezTo>
                  <a:pt x="594" y="328"/>
                  <a:pt x="600" y="327"/>
                  <a:pt x="606" y="334"/>
                </a:cubicBezTo>
                <a:cubicBezTo>
                  <a:pt x="612" y="340"/>
                  <a:pt x="620" y="345"/>
                  <a:pt x="627" y="352"/>
                </a:cubicBezTo>
                <a:cubicBezTo>
                  <a:pt x="636" y="362"/>
                  <a:pt x="637" y="376"/>
                  <a:pt x="628" y="388"/>
                </a:cubicBezTo>
                <a:cubicBezTo>
                  <a:pt x="627" y="390"/>
                  <a:pt x="626" y="392"/>
                  <a:pt x="626" y="395"/>
                </a:cubicBezTo>
                <a:cubicBezTo>
                  <a:pt x="627" y="401"/>
                  <a:pt x="627" y="407"/>
                  <a:pt x="622" y="413"/>
                </a:cubicBezTo>
                <a:cubicBezTo>
                  <a:pt x="615" y="419"/>
                  <a:pt x="610" y="427"/>
                  <a:pt x="604" y="434"/>
                </a:cubicBezTo>
                <a:cubicBezTo>
                  <a:pt x="602" y="436"/>
                  <a:pt x="600" y="437"/>
                  <a:pt x="598" y="435"/>
                </a:cubicBezTo>
                <a:cubicBezTo>
                  <a:pt x="592" y="431"/>
                  <a:pt x="587" y="427"/>
                  <a:pt x="581" y="423"/>
                </a:cubicBezTo>
                <a:cubicBezTo>
                  <a:pt x="579" y="422"/>
                  <a:pt x="577" y="422"/>
                  <a:pt x="575" y="422"/>
                </a:cubicBezTo>
                <a:cubicBezTo>
                  <a:pt x="571" y="422"/>
                  <a:pt x="567" y="424"/>
                  <a:pt x="562" y="424"/>
                </a:cubicBezTo>
                <a:cubicBezTo>
                  <a:pt x="565" y="422"/>
                  <a:pt x="567" y="420"/>
                  <a:pt x="570" y="418"/>
                </a:cubicBezTo>
                <a:cubicBezTo>
                  <a:pt x="570" y="418"/>
                  <a:pt x="570" y="417"/>
                  <a:pt x="570" y="417"/>
                </a:cubicBezTo>
                <a:cubicBezTo>
                  <a:pt x="560" y="419"/>
                  <a:pt x="550" y="421"/>
                  <a:pt x="539" y="424"/>
                </a:cubicBezTo>
                <a:cubicBezTo>
                  <a:pt x="543" y="418"/>
                  <a:pt x="546" y="413"/>
                  <a:pt x="550" y="409"/>
                </a:cubicBezTo>
                <a:cubicBezTo>
                  <a:pt x="549" y="408"/>
                  <a:pt x="549" y="408"/>
                  <a:pt x="548" y="407"/>
                </a:cubicBezTo>
                <a:cubicBezTo>
                  <a:pt x="544" y="411"/>
                  <a:pt x="540" y="415"/>
                  <a:pt x="537" y="420"/>
                </a:cubicBezTo>
                <a:cubicBezTo>
                  <a:pt x="531" y="427"/>
                  <a:pt x="527" y="435"/>
                  <a:pt x="521" y="443"/>
                </a:cubicBezTo>
                <a:cubicBezTo>
                  <a:pt x="521" y="444"/>
                  <a:pt x="518" y="444"/>
                  <a:pt x="517" y="444"/>
                </a:cubicBezTo>
                <a:cubicBezTo>
                  <a:pt x="510" y="445"/>
                  <a:pt x="504" y="445"/>
                  <a:pt x="497" y="444"/>
                </a:cubicBezTo>
                <a:cubicBezTo>
                  <a:pt x="493" y="444"/>
                  <a:pt x="492" y="446"/>
                  <a:pt x="490" y="450"/>
                </a:cubicBezTo>
                <a:cubicBezTo>
                  <a:pt x="489" y="453"/>
                  <a:pt x="488" y="457"/>
                  <a:pt x="488" y="461"/>
                </a:cubicBezTo>
                <a:cubicBezTo>
                  <a:pt x="490" y="457"/>
                  <a:pt x="492" y="454"/>
                  <a:pt x="494" y="450"/>
                </a:cubicBezTo>
                <a:cubicBezTo>
                  <a:pt x="495" y="449"/>
                  <a:pt x="498" y="447"/>
                  <a:pt x="500" y="447"/>
                </a:cubicBezTo>
                <a:cubicBezTo>
                  <a:pt x="507" y="446"/>
                  <a:pt x="514" y="447"/>
                  <a:pt x="521" y="446"/>
                </a:cubicBezTo>
                <a:cubicBezTo>
                  <a:pt x="523" y="446"/>
                  <a:pt x="525" y="445"/>
                  <a:pt x="526" y="444"/>
                </a:cubicBezTo>
                <a:cubicBezTo>
                  <a:pt x="532" y="439"/>
                  <a:pt x="536" y="433"/>
                  <a:pt x="542" y="428"/>
                </a:cubicBezTo>
                <a:cubicBezTo>
                  <a:pt x="544" y="426"/>
                  <a:pt x="547" y="425"/>
                  <a:pt x="549" y="425"/>
                </a:cubicBezTo>
                <a:cubicBezTo>
                  <a:pt x="555" y="426"/>
                  <a:pt x="561" y="427"/>
                  <a:pt x="567" y="429"/>
                </a:cubicBezTo>
                <a:cubicBezTo>
                  <a:pt x="568" y="429"/>
                  <a:pt x="570" y="430"/>
                  <a:pt x="571" y="431"/>
                </a:cubicBezTo>
                <a:cubicBezTo>
                  <a:pt x="575" y="438"/>
                  <a:pt x="579" y="445"/>
                  <a:pt x="584" y="453"/>
                </a:cubicBezTo>
                <a:cubicBezTo>
                  <a:pt x="582" y="454"/>
                  <a:pt x="580" y="455"/>
                  <a:pt x="579" y="455"/>
                </a:cubicBezTo>
                <a:cubicBezTo>
                  <a:pt x="581" y="458"/>
                  <a:pt x="584" y="460"/>
                  <a:pt x="584" y="462"/>
                </a:cubicBezTo>
                <a:cubicBezTo>
                  <a:pt x="585" y="465"/>
                  <a:pt x="583" y="467"/>
                  <a:pt x="583" y="470"/>
                </a:cubicBezTo>
                <a:cubicBezTo>
                  <a:pt x="584" y="467"/>
                  <a:pt x="586" y="464"/>
                  <a:pt x="588" y="461"/>
                </a:cubicBezTo>
                <a:cubicBezTo>
                  <a:pt x="587" y="462"/>
                  <a:pt x="587" y="462"/>
                  <a:pt x="586" y="463"/>
                </a:cubicBezTo>
                <a:cubicBezTo>
                  <a:pt x="596" y="472"/>
                  <a:pt x="605" y="480"/>
                  <a:pt x="615" y="489"/>
                </a:cubicBezTo>
                <a:cubicBezTo>
                  <a:pt x="616" y="490"/>
                  <a:pt x="615" y="494"/>
                  <a:pt x="615" y="496"/>
                </a:cubicBezTo>
                <a:cubicBezTo>
                  <a:pt x="616" y="503"/>
                  <a:pt x="617" y="511"/>
                  <a:pt x="618" y="518"/>
                </a:cubicBezTo>
                <a:cubicBezTo>
                  <a:pt x="620" y="525"/>
                  <a:pt x="621" y="533"/>
                  <a:pt x="622" y="541"/>
                </a:cubicBezTo>
                <a:cubicBezTo>
                  <a:pt x="617" y="538"/>
                  <a:pt x="614" y="536"/>
                  <a:pt x="610" y="533"/>
                </a:cubicBezTo>
                <a:cubicBezTo>
                  <a:pt x="610" y="533"/>
                  <a:pt x="609" y="534"/>
                  <a:pt x="609" y="534"/>
                </a:cubicBezTo>
                <a:cubicBezTo>
                  <a:pt x="610" y="537"/>
                  <a:pt x="612" y="541"/>
                  <a:pt x="613" y="544"/>
                </a:cubicBezTo>
                <a:cubicBezTo>
                  <a:pt x="613" y="545"/>
                  <a:pt x="613" y="545"/>
                  <a:pt x="612" y="545"/>
                </a:cubicBezTo>
                <a:cubicBezTo>
                  <a:pt x="602" y="536"/>
                  <a:pt x="591" y="528"/>
                  <a:pt x="580" y="519"/>
                </a:cubicBezTo>
                <a:cubicBezTo>
                  <a:pt x="580" y="519"/>
                  <a:pt x="580" y="519"/>
                  <a:pt x="580" y="518"/>
                </a:cubicBezTo>
                <a:cubicBezTo>
                  <a:pt x="584" y="520"/>
                  <a:pt x="588" y="521"/>
                  <a:pt x="592" y="522"/>
                </a:cubicBezTo>
                <a:cubicBezTo>
                  <a:pt x="592" y="521"/>
                  <a:pt x="592" y="521"/>
                  <a:pt x="593" y="521"/>
                </a:cubicBezTo>
                <a:cubicBezTo>
                  <a:pt x="589" y="518"/>
                  <a:pt x="585" y="515"/>
                  <a:pt x="581" y="513"/>
                </a:cubicBezTo>
                <a:cubicBezTo>
                  <a:pt x="575" y="509"/>
                  <a:pt x="570" y="504"/>
                  <a:pt x="573" y="496"/>
                </a:cubicBezTo>
                <a:cubicBezTo>
                  <a:pt x="573" y="496"/>
                  <a:pt x="572" y="496"/>
                  <a:pt x="572" y="496"/>
                </a:cubicBezTo>
                <a:cubicBezTo>
                  <a:pt x="570" y="500"/>
                  <a:pt x="569" y="504"/>
                  <a:pt x="567" y="509"/>
                </a:cubicBezTo>
                <a:cubicBezTo>
                  <a:pt x="559" y="500"/>
                  <a:pt x="552" y="493"/>
                  <a:pt x="545" y="485"/>
                </a:cubicBezTo>
                <a:cubicBezTo>
                  <a:pt x="542" y="481"/>
                  <a:pt x="540" y="478"/>
                  <a:pt x="536" y="475"/>
                </a:cubicBezTo>
                <a:cubicBezTo>
                  <a:pt x="534" y="473"/>
                  <a:pt x="531" y="472"/>
                  <a:pt x="528" y="471"/>
                </a:cubicBezTo>
                <a:cubicBezTo>
                  <a:pt x="523" y="475"/>
                  <a:pt x="517" y="480"/>
                  <a:pt x="511" y="486"/>
                </a:cubicBezTo>
                <a:cubicBezTo>
                  <a:pt x="511" y="483"/>
                  <a:pt x="511" y="482"/>
                  <a:pt x="510" y="478"/>
                </a:cubicBezTo>
                <a:cubicBezTo>
                  <a:pt x="498" y="487"/>
                  <a:pt x="486" y="495"/>
                  <a:pt x="474" y="503"/>
                </a:cubicBezTo>
                <a:cubicBezTo>
                  <a:pt x="473" y="502"/>
                  <a:pt x="473" y="501"/>
                  <a:pt x="472" y="499"/>
                </a:cubicBezTo>
                <a:cubicBezTo>
                  <a:pt x="454" y="509"/>
                  <a:pt x="435" y="518"/>
                  <a:pt x="416" y="528"/>
                </a:cubicBezTo>
                <a:cubicBezTo>
                  <a:pt x="416" y="528"/>
                  <a:pt x="416" y="529"/>
                  <a:pt x="417" y="529"/>
                </a:cubicBezTo>
                <a:cubicBezTo>
                  <a:pt x="428" y="532"/>
                  <a:pt x="433" y="542"/>
                  <a:pt x="441" y="550"/>
                </a:cubicBezTo>
                <a:cubicBezTo>
                  <a:pt x="449" y="559"/>
                  <a:pt x="456" y="568"/>
                  <a:pt x="464" y="577"/>
                </a:cubicBezTo>
                <a:cubicBezTo>
                  <a:pt x="465" y="579"/>
                  <a:pt x="466" y="580"/>
                  <a:pt x="467" y="582"/>
                </a:cubicBezTo>
                <a:cubicBezTo>
                  <a:pt x="445" y="582"/>
                  <a:pt x="445" y="582"/>
                  <a:pt x="445" y="582"/>
                </a:cubicBezTo>
                <a:cubicBezTo>
                  <a:pt x="445" y="584"/>
                  <a:pt x="445" y="584"/>
                  <a:pt x="445" y="584"/>
                </a:cubicBezTo>
                <a:cubicBezTo>
                  <a:pt x="447" y="584"/>
                  <a:pt x="449" y="585"/>
                  <a:pt x="450" y="584"/>
                </a:cubicBezTo>
                <a:cubicBezTo>
                  <a:pt x="458" y="584"/>
                  <a:pt x="465" y="583"/>
                  <a:pt x="472" y="583"/>
                </a:cubicBezTo>
                <a:cubicBezTo>
                  <a:pt x="474" y="583"/>
                  <a:pt x="476" y="583"/>
                  <a:pt x="477" y="584"/>
                </a:cubicBezTo>
                <a:cubicBezTo>
                  <a:pt x="491" y="603"/>
                  <a:pt x="504" y="622"/>
                  <a:pt x="518" y="641"/>
                </a:cubicBezTo>
                <a:cubicBezTo>
                  <a:pt x="504" y="635"/>
                  <a:pt x="493" y="625"/>
                  <a:pt x="475" y="628"/>
                </a:cubicBezTo>
                <a:cubicBezTo>
                  <a:pt x="481" y="632"/>
                  <a:pt x="487" y="636"/>
                  <a:pt x="493" y="640"/>
                </a:cubicBezTo>
                <a:cubicBezTo>
                  <a:pt x="492" y="641"/>
                  <a:pt x="492" y="641"/>
                  <a:pt x="492" y="641"/>
                </a:cubicBezTo>
                <a:cubicBezTo>
                  <a:pt x="474" y="638"/>
                  <a:pt x="456" y="634"/>
                  <a:pt x="438" y="631"/>
                </a:cubicBezTo>
                <a:cubicBezTo>
                  <a:pt x="457" y="639"/>
                  <a:pt x="477" y="642"/>
                  <a:pt x="496" y="655"/>
                </a:cubicBezTo>
                <a:cubicBezTo>
                  <a:pt x="485" y="655"/>
                  <a:pt x="474" y="656"/>
                  <a:pt x="464" y="657"/>
                </a:cubicBezTo>
                <a:cubicBezTo>
                  <a:pt x="464" y="657"/>
                  <a:pt x="464" y="657"/>
                  <a:pt x="464" y="657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7" y="648"/>
                  <a:pt x="499" y="642"/>
                  <a:pt x="496" y="634"/>
                </a:cubicBezTo>
                <a:cubicBezTo>
                  <a:pt x="506" y="640"/>
                  <a:pt x="516" y="645"/>
                  <a:pt x="527" y="651"/>
                </a:cubicBezTo>
                <a:cubicBezTo>
                  <a:pt x="521" y="662"/>
                  <a:pt x="516" y="672"/>
                  <a:pt x="510" y="684"/>
                </a:cubicBezTo>
                <a:cubicBezTo>
                  <a:pt x="510" y="680"/>
                  <a:pt x="509" y="677"/>
                  <a:pt x="509" y="674"/>
                </a:cubicBezTo>
                <a:cubicBezTo>
                  <a:pt x="509" y="674"/>
                  <a:pt x="508" y="674"/>
                  <a:pt x="508" y="674"/>
                </a:cubicBezTo>
                <a:cubicBezTo>
                  <a:pt x="507" y="676"/>
                  <a:pt x="506" y="679"/>
                  <a:pt x="506" y="682"/>
                </a:cubicBezTo>
                <a:cubicBezTo>
                  <a:pt x="506" y="687"/>
                  <a:pt x="503" y="688"/>
                  <a:pt x="498" y="688"/>
                </a:cubicBezTo>
                <a:cubicBezTo>
                  <a:pt x="491" y="688"/>
                  <a:pt x="485" y="689"/>
                  <a:pt x="478" y="689"/>
                </a:cubicBezTo>
                <a:cubicBezTo>
                  <a:pt x="450" y="691"/>
                  <a:pt x="423" y="692"/>
                  <a:pt x="396" y="693"/>
                </a:cubicBezTo>
                <a:cubicBezTo>
                  <a:pt x="370" y="694"/>
                  <a:pt x="344" y="696"/>
                  <a:pt x="319" y="697"/>
                </a:cubicBezTo>
                <a:cubicBezTo>
                  <a:pt x="318" y="697"/>
                  <a:pt x="317" y="697"/>
                  <a:pt x="316" y="697"/>
                </a:cubicBezTo>
                <a:cubicBezTo>
                  <a:pt x="316" y="697"/>
                  <a:pt x="316" y="697"/>
                  <a:pt x="316" y="697"/>
                </a:cubicBezTo>
                <a:moveTo>
                  <a:pt x="473" y="492"/>
                </a:moveTo>
                <a:cubicBezTo>
                  <a:pt x="474" y="493"/>
                  <a:pt x="474" y="494"/>
                  <a:pt x="475" y="494"/>
                </a:cubicBezTo>
                <a:cubicBezTo>
                  <a:pt x="485" y="485"/>
                  <a:pt x="494" y="477"/>
                  <a:pt x="504" y="468"/>
                </a:cubicBezTo>
                <a:cubicBezTo>
                  <a:pt x="503" y="468"/>
                  <a:pt x="503" y="467"/>
                  <a:pt x="503" y="467"/>
                </a:cubicBezTo>
                <a:cubicBezTo>
                  <a:pt x="493" y="475"/>
                  <a:pt x="483" y="484"/>
                  <a:pt x="473" y="492"/>
                </a:cubicBezTo>
                <a:moveTo>
                  <a:pt x="349" y="593"/>
                </a:moveTo>
                <a:cubicBezTo>
                  <a:pt x="331" y="608"/>
                  <a:pt x="312" y="623"/>
                  <a:pt x="294" y="637"/>
                </a:cubicBezTo>
                <a:cubicBezTo>
                  <a:pt x="294" y="637"/>
                  <a:pt x="293" y="637"/>
                  <a:pt x="293" y="636"/>
                </a:cubicBezTo>
                <a:cubicBezTo>
                  <a:pt x="312" y="620"/>
                  <a:pt x="330" y="604"/>
                  <a:pt x="349" y="587"/>
                </a:cubicBezTo>
                <a:cubicBezTo>
                  <a:pt x="346" y="586"/>
                  <a:pt x="345" y="585"/>
                  <a:pt x="344" y="584"/>
                </a:cubicBezTo>
                <a:cubicBezTo>
                  <a:pt x="330" y="576"/>
                  <a:pt x="317" y="569"/>
                  <a:pt x="304" y="561"/>
                </a:cubicBezTo>
                <a:cubicBezTo>
                  <a:pt x="301" y="559"/>
                  <a:pt x="299" y="560"/>
                  <a:pt x="297" y="562"/>
                </a:cubicBezTo>
                <a:cubicBezTo>
                  <a:pt x="281" y="580"/>
                  <a:pt x="265" y="597"/>
                  <a:pt x="249" y="614"/>
                </a:cubicBezTo>
                <a:cubicBezTo>
                  <a:pt x="241" y="623"/>
                  <a:pt x="233" y="632"/>
                  <a:pt x="225" y="642"/>
                </a:cubicBezTo>
                <a:cubicBezTo>
                  <a:pt x="241" y="644"/>
                  <a:pt x="256" y="647"/>
                  <a:pt x="272" y="648"/>
                </a:cubicBezTo>
                <a:cubicBezTo>
                  <a:pt x="276" y="649"/>
                  <a:pt x="280" y="649"/>
                  <a:pt x="280" y="655"/>
                </a:cubicBezTo>
                <a:cubicBezTo>
                  <a:pt x="292" y="647"/>
                  <a:pt x="304" y="640"/>
                  <a:pt x="315" y="632"/>
                </a:cubicBezTo>
                <a:cubicBezTo>
                  <a:pt x="327" y="624"/>
                  <a:pt x="340" y="616"/>
                  <a:pt x="352" y="608"/>
                </a:cubicBezTo>
                <a:cubicBezTo>
                  <a:pt x="353" y="607"/>
                  <a:pt x="355" y="605"/>
                  <a:pt x="354" y="603"/>
                </a:cubicBezTo>
                <a:cubicBezTo>
                  <a:pt x="353" y="600"/>
                  <a:pt x="351" y="597"/>
                  <a:pt x="349" y="593"/>
                </a:cubicBezTo>
                <a:moveTo>
                  <a:pt x="229" y="662"/>
                </a:moveTo>
                <a:cubicBezTo>
                  <a:pt x="228" y="662"/>
                  <a:pt x="227" y="663"/>
                  <a:pt x="226" y="663"/>
                </a:cubicBezTo>
                <a:cubicBezTo>
                  <a:pt x="213" y="666"/>
                  <a:pt x="200" y="669"/>
                  <a:pt x="187" y="673"/>
                </a:cubicBezTo>
                <a:cubicBezTo>
                  <a:pt x="185" y="673"/>
                  <a:pt x="182" y="674"/>
                  <a:pt x="181" y="676"/>
                </a:cubicBezTo>
                <a:cubicBezTo>
                  <a:pt x="174" y="683"/>
                  <a:pt x="166" y="690"/>
                  <a:pt x="160" y="699"/>
                </a:cubicBezTo>
                <a:cubicBezTo>
                  <a:pt x="148" y="713"/>
                  <a:pt x="137" y="729"/>
                  <a:pt x="126" y="744"/>
                </a:cubicBezTo>
                <a:cubicBezTo>
                  <a:pt x="120" y="751"/>
                  <a:pt x="115" y="758"/>
                  <a:pt x="109" y="766"/>
                </a:cubicBezTo>
                <a:cubicBezTo>
                  <a:pt x="110" y="766"/>
                  <a:pt x="110" y="766"/>
                  <a:pt x="110" y="767"/>
                </a:cubicBezTo>
                <a:cubicBezTo>
                  <a:pt x="155" y="740"/>
                  <a:pt x="200" y="713"/>
                  <a:pt x="245" y="687"/>
                </a:cubicBezTo>
                <a:cubicBezTo>
                  <a:pt x="242" y="680"/>
                  <a:pt x="239" y="674"/>
                  <a:pt x="237" y="667"/>
                </a:cubicBezTo>
                <a:cubicBezTo>
                  <a:pt x="236" y="662"/>
                  <a:pt x="233" y="661"/>
                  <a:pt x="229" y="662"/>
                </a:cubicBezTo>
                <a:close/>
                <a:moveTo>
                  <a:pt x="640" y="549"/>
                </a:moveTo>
                <a:cubicBezTo>
                  <a:pt x="639" y="547"/>
                  <a:pt x="640" y="546"/>
                  <a:pt x="639" y="546"/>
                </a:cubicBezTo>
                <a:cubicBezTo>
                  <a:pt x="637" y="541"/>
                  <a:pt x="639" y="539"/>
                  <a:pt x="643" y="538"/>
                </a:cubicBezTo>
                <a:cubicBezTo>
                  <a:pt x="645" y="538"/>
                  <a:pt x="648" y="537"/>
                  <a:pt x="648" y="535"/>
                </a:cubicBezTo>
                <a:cubicBezTo>
                  <a:pt x="651" y="529"/>
                  <a:pt x="653" y="524"/>
                  <a:pt x="656" y="518"/>
                </a:cubicBezTo>
                <a:cubicBezTo>
                  <a:pt x="662" y="502"/>
                  <a:pt x="669" y="485"/>
                  <a:pt x="676" y="469"/>
                </a:cubicBezTo>
                <a:cubicBezTo>
                  <a:pt x="680" y="459"/>
                  <a:pt x="684" y="448"/>
                  <a:pt x="688" y="438"/>
                </a:cubicBezTo>
                <a:cubicBezTo>
                  <a:pt x="688" y="438"/>
                  <a:pt x="688" y="438"/>
                  <a:pt x="687" y="437"/>
                </a:cubicBezTo>
                <a:cubicBezTo>
                  <a:pt x="685" y="440"/>
                  <a:pt x="683" y="443"/>
                  <a:pt x="680" y="446"/>
                </a:cubicBezTo>
                <a:cubicBezTo>
                  <a:pt x="682" y="442"/>
                  <a:pt x="683" y="440"/>
                  <a:pt x="685" y="436"/>
                </a:cubicBezTo>
                <a:cubicBezTo>
                  <a:pt x="677" y="435"/>
                  <a:pt x="671" y="435"/>
                  <a:pt x="665" y="434"/>
                </a:cubicBezTo>
                <a:cubicBezTo>
                  <a:pt x="663" y="434"/>
                  <a:pt x="661" y="436"/>
                  <a:pt x="661" y="437"/>
                </a:cubicBezTo>
                <a:cubicBezTo>
                  <a:pt x="657" y="446"/>
                  <a:pt x="654" y="455"/>
                  <a:pt x="651" y="464"/>
                </a:cubicBezTo>
                <a:cubicBezTo>
                  <a:pt x="646" y="477"/>
                  <a:pt x="641" y="489"/>
                  <a:pt x="631" y="498"/>
                </a:cubicBezTo>
                <a:cubicBezTo>
                  <a:pt x="628" y="500"/>
                  <a:pt x="627" y="503"/>
                  <a:pt x="629" y="506"/>
                </a:cubicBezTo>
                <a:cubicBezTo>
                  <a:pt x="630" y="510"/>
                  <a:pt x="631" y="514"/>
                  <a:pt x="632" y="519"/>
                </a:cubicBezTo>
                <a:cubicBezTo>
                  <a:pt x="632" y="519"/>
                  <a:pt x="631" y="519"/>
                  <a:pt x="631" y="519"/>
                </a:cubicBezTo>
                <a:cubicBezTo>
                  <a:pt x="629" y="514"/>
                  <a:pt x="628" y="510"/>
                  <a:pt x="626" y="504"/>
                </a:cubicBezTo>
                <a:cubicBezTo>
                  <a:pt x="624" y="508"/>
                  <a:pt x="621" y="510"/>
                  <a:pt x="622" y="513"/>
                </a:cubicBezTo>
                <a:cubicBezTo>
                  <a:pt x="623" y="526"/>
                  <a:pt x="625" y="540"/>
                  <a:pt x="627" y="554"/>
                </a:cubicBezTo>
                <a:cubicBezTo>
                  <a:pt x="632" y="552"/>
                  <a:pt x="635" y="550"/>
                  <a:pt x="640" y="549"/>
                </a:cubicBezTo>
                <a:moveTo>
                  <a:pt x="30" y="842"/>
                </a:moveTo>
                <a:cubicBezTo>
                  <a:pt x="37" y="842"/>
                  <a:pt x="43" y="842"/>
                  <a:pt x="49" y="842"/>
                </a:cubicBezTo>
                <a:cubicBezTo>
                  <a:pt x="52" y="842"/>
                  <a:pt x="53" y="841"/>
                  <a:pt x="54" y="838"/>
                </a:cubicBezTo>
                <a:cubicBezTo>
                  <a:pt x="56" y="833"/>
                  <a:pt x="58" y="827"/>
                  <a:pt x="60" y="821"/>
                </a:cubicBezTo>
                <a:cubicBezTo>
                  <a:pt x="64" y="810"/>
                  <a:pt x="68" y="799"/>
                  <a:pt x="72" y="786"/>
                </a:cubicBezTo>
                <a:cubicBezTo>
                  <a:pt x="65" y="791"/>
                  <a:pt x="59" y="795"/>
                  <a:pt x="52" y="799"/>
                </a:cubicBezTo>
                <a:cubicBezTo>
                  <a:pt x="51" y="798"/>
                  <a:pt x="51" y="798"/>
                  <a:pt x="51" y="798"/>
                </a:cubicBezTo>
                <a:cubicBezTo>
                  <a:pt x="59" y="787"/>
                  <a:pt x="67" y="777"/>
                  <a:pt x="75" y="767"/>
                </a:cubicBezTo>
                <a:cubicBezTo>
                  <a:pt x="65" y="770"/>
                  <a:pt x="56" y="773"/>
                  <a:pt x="47" y="776"/>
                </a:cubicBezTo>
                <a:cubicBezTo>
                  <a:pt x="44" y="777"/>
                  <a:pt x="43" y="779"/>
                  <a:pt x="44" y="782"/>
                </a:cubicBezTo>
                <a:cubicBezTo>
                  <a:pt x="44" y="787"/>
                  <a:pt x="45" y="793"/>
                  <a:pt x="45" y="799"/>
                </a:cubicBezTo>
                <a:cubicBezTo>
                  <a:pt x="45" y="801"/>
                  <a:pt x="43" y="803"/>
                  <a:pt x="42" y="805"/>
                </a:cubicBezTo>
                <a:cubicBezTo>
                  <a:pt x="40" y="808"/>
                  <a:pt x="36" y="810"/>
                  <a:pt x="35" y="812"/>
                </a:cubicBezTo>
                <a:cubicBezTo>
                  <a:pt x="33" y="822"/>
                  <a:pt x="32" y="832"/>
                  <a:pt x="30" y="842"/>
                </a:cubicBezTo>
                <a:moveTo>
                  <a:pt x="695" y="405"/>
                </a:moveTo>
                <a:cubicBezTo>
                  <a:pt x="685" y="401"/>
                  <a:pt x="677" y="397"/>
                  <a:pt x="667" y="393"/>
                </a:cubicBezTo>
                <a:cubicBezTo>
                  <a:pt x="666" y="400"/>
                  <a:pt x="665" y="406"/>
                  <a:pt x="664" y="412"/>
                </a:cubicBezTo>
                <a:cubicBezTo>
                  <a:pt x="662" y="409"/>
                  <a:pt x="660" y="407"/>
                  <a:pt x="658" y="405"/>
                </a:cubicBezTo>
                <a:cubicBezTo>
                  <a:pt x="662" y="404"/>
                  <a:pt x="663" y="400"/>
                  <a:pt x="659" y="395"/>
                </a:cubicBezTo>
                <a:cubicBezTo>
                  <a:pt x="653" y="402"/>
                  <a:pt x="654" y="410"/>
                  <a:pt x="655" y="418"/>
                </a:cubicBezTo>
                <a:cubicBezTo>
                  <a:pt x="657" y="418"/>
                  <a:pt x="659" y="418"/>
                  <a:pt x="662" y="419"/>
                </a:cubicBezTo>
                <a:cubicBezTo>
                  <a:pt x="659" y="420"/>
                  <a:pt x="657" y="421"/>
                  <a:pt x="655" y="422"/>
                </a:cubicBezTo>
                <a:cubicBezTo>
                  <a:pt x="659" y="425"/>
                  <a:pt x="662" y="430"/>
                  <a:pt x="666" y="431"/>
                </a:cubicBezTo>
                <a:cubicBezTo>
                  <a:pt x="671" y="433"/>
                  <a:pt x="677" y="433"/>
                  <a:pt x="682" y="433"/>
                </a:cubicBezTo>
                <a:cubicBezTo>
                  <a:pt x="684" y="433"/>
                  <a:pt x="686" y="432"/>
                  <a:pt x="687" y="431"/>
                </a:cubicBezTo>
                <a:cubicBezTo>
                  <a:pt x="690" y="424"/>
                  <a:pt x="694" y="417"/>
                  <a:pt x="698" y="410"/>
                </a:cubicBezTo>
                <a:cubicBezTo>
                  <a:pt x="692" y="411"/>
                  <a:pt x="687" y="412"/>
                  <a:pt x="682" y="414"/>
                </a:cubicBezTo>
                <a:cubicBezTo>
                  <a:pt x="682" y="413"/>
                  <a:pt x="682" y="413"/>
                  <a:pt x="681" y="412"/>
                </a:cubicBezTo>
                <a:cubicBezTo>
                  <a:pt x="686" y="410"/>
                  <a:pt x="690" y="408"/>
                  <a:pt x="695" y="405"/>
                </a:cubicBezTo>
                <a:moveTo>
                  <a:pt x="82" y="791"/>
                </a:moveTo>
                <a:cubicBezTo>
                  <a:pt x="100" y="768"/>
                  <a:pt x="117" y="746"/>
                  <a:pt x="134" y="724"/>
                </a:cubicBezTo>
                <a:cubicBezTo>
                  <a:pt x="119" y="732"/>
                  <a:pt x="104" y="741"/>
                  <a:pt x="90" y="751"/>
                </a:cubicBezTo>
                <a:cubicBezTo>
                  <a:pt x="89" y="751"/>
                  <a:pt x="88" y="753"/>
                  <a:pt x="88" y="754"/>
                </a:cubicBezTo>
                <a:cubicBezTo>
                  <a:pt x="86" y="766"/>
                  <a:pt x="84" y="778"/>
                  <a:pt x="82" y="791"/>
                </a:cubicBezTo>
                <a:moveTo>
                  <a:pt x="231" y="483"/>
                </a:moveTo>
                <a:cubicBezTo>
                  <a:pt x="306" y="483"/>
                  <a:pt x="306" y="483"/>
                  <a:pt x="306" y="483"/>
                </a:cubicBezTo>
                <a:cubicBezTo>
                  <a:pt x="300" y="475"/>
                  <a:pt x="292" y="472"/>
                  <a:pt x="284" y="469"/>
                </a:cubicBezTo>
                <a:cubicBezTo>
                  <a:pt x="283" y="468"/>
                  <a:pt x="281" y="469"/>
                  <a:pt x="279" y="469"/>
                </a:cubicBezTo>
                <a:cubicBezTo>
                  <a:pt x="275" y="470"/>
                  <a:pt x="272" y="471"/>
                  <a:pt x="268" y="472"/>
                </a:cubicBezTo>
                <a:cubicBezTo>
                  <a:pt x="256" y="475"/>
                  <a:pt x="243" y="479"/>
                  <a:pt x="231" y="482"/>
                </a:cubicBezTo>
                <a:lnTo>
                  <a:pt x="231" y="483"/>
                </a:lnTo>
                <a:close/>
                <a:moveTo>
                  <a:pt x="90" y="800"/>
                </a:moveTo>
                <a:cubicBezTo>
                  <a:pt x="117" y="786"/>
                  <a:pt x="138" y="767"/>
                  <a:pt x="159" y="746"/>
                </a:cubicBezTo>
                <a:cubicBezTo>
                  <a:pt x="144" y="755"/>
                  <a:pt x="128" y="763"/>
                  <a:pt x="114" y="773"/>
                </a:cubicBezTo>
                <a:cubicBezTo>
                  <a:pt x="105" y="780"/>
                  <a:pt x="98" y="791"/>
                  <a:pt x="90" y="800"/>
                </a:cubicBezTo>
                <a:moveTo>
                  <a:pt x="41" y="888"/>
                </a:moveTo>
                <a:cubicBezTo>
                  <a:pt x="46" y="877"/>
                  <a:pt x="50" y="866"/>
                  <a:pt x="55" y="854"/>
                </a:cubicBezTo>
                <a:cubicBezTo>
                  <a:pt x="47" y="857"/>
                  <a:pt x="40" y="859"/>
                  <a:pt x="33" y="862"/>
                </a:cubicBezTo>
                <a:cubicBezTo>
                  <a:pt x="32" y="862"/>
                  <a:pt x="30" y="865"/>
                  <a:pt x="30" y="866"/>
                </a:cubicBezTo>
                <a:cubicBezTo>
                  <a:pt x="29" y="874"/>
                  <a:pt x="29" y="882"/>
                  <a:pt x="38" y="886"/>
                </a:cubicBezTo>
                <a:cubicBezTo>
                  <a:pt x="39" y="886"/>
                  <a:pt x="40" y="887"/>
                  <a:pt x="41" y="888"/>
                </a:cubicBezTo>
                <a:moveTo>
                  <a:pt x="229" y="662"/>
                </a:moveTo>
                <a:cubicBezTo>
                  <a:pt x="229" y="662"/>
                  <a:pt x="229" y="662"/>
                  <a:pt x="229" y="662"/>
                </a:cubicBezTo>
                <a:cubicBezTo>
                  <a:pt x="241" y="658"/>
                  <a:pt x="253" y="654"/>
                  <a:pt x="266" y="650"/>
                </a:cubicBezTo>
                <a:cubicBezTo>
                  <a:pt x="256" y="649"/>
                  <a:pt x="246" y="649"/>
                  <a:pt x="237" y="647"/>
                </a:cubicBezTo>
                <a:cubicBezTo>
                  <a:pt x="224" y="645"/>
                  <a:pt x="218" y="655"/>
                  <a:pt x="210" y="662"/>
                </a:cubicBezTo>
                <a:cubicBezTo>
                  <a:pt x="229" y="662"/>
                  <a:pt x="229" y="662"/>
                  <a:pt x="229" y="662"/>
                </a:cubicBezTo>
                <a:moveTo>
                  <a:pt x="88" y="795"/>
                </a:moveTo>
                <a:cubicBezTo>
                  <a:pt x="84" y="796"/>
                  <a:pt x="81" y="797"/>
                  <a:pt x="78" y="797"/>
                </a:cubicBezTo>
                <a:cubicBezTo>
                  <a:pt x="75" y="798"/>
                  <a:pt x="73" y="799"/>
                  <a:pt x="72" y="802"/>
                </a:cubicBezTo>
                <a:cubicBezTo>
                  <a:pt x="70" y="812"/>
                  <a:pt x="66" y="821"/>
                  <a:pt x="64" y="830"/>
                </a:cubicBezTo>
                <a:cubicBezTo>
                  <a:pt x="63" y="833"/>
                  <a:pt x="63" y="836"/>
                  <a:pt x="63" y="839"/>
                </a:cubicBezTo>
                <a:cubicBezTo>
                  <a:pt x="64" y="839"/>
                  <a:pt x="64" y="839"/>
                  <a:pt x="64" y="839"/>
                </a:cubicBezTo>
                <a:cubicBezTo>
                  <a:pt x="72" y="825"/>
                  <a:pt x="80" y="810"/>
                  <a:pt x="88" y="795"/>
                </a:cubicBezTo>
                <a:moveTo>
                  <a:pt x="375" y="462"/>
                </a:moveTo>
                <a:cubicBezTo>
                  <a:pt x="388" y="457"/>
                  <a:pt x="400" y="452"/>
                  <a:pt x="411" y="448"/>
                </a:cubicBezTo>
                <a:cubicBezTo>
                  <a:pt x="406" y="445"/>
                  <a:pt x="400" y="443"/>
                  <a:pt x="395" y="442"/>
                </a:cubicBezTo>
                <a:cubicBezTo>
                  <a:pt x="393" y="442"/>
                  <a:pt x="391" y="443"/>
                  <a:pt x="390" y="444"/>
                </a:cubicBezTo>
                <a:cubicBezTo>
                  <a:pt x="385" y="450"/>
                  <a:pt x="381" y="455"/>
                  <a:pt x="375" y="462"/>
                </a:cubicBezTo>
                <a:moveTo>
                  <a:pt x="223" y="634"/>
                </a:moveTo>
                <a:cubicBezTo>
                  <a:pt x="220" y="630"/>
                  <a:pt x="217" y="627"/>
                  <a:pt x="214" y="623"/>
                </a:cubicBezTo>
                <a:cubicBezTo>
                  <a:pt x="209" y="634"/>
                  <a:pt x="204" y="645"/>
                  <a:pt x="200" y="655"/>
                </a:cubicBezTo>
                <a:cubicBezTo>
                  <a:pt x="200" y="655"/>
                  <a:pt x="201" y="655"/>
                  <a:pt x="201" y="656"/>
                </a:cubicBezTo>
                <a:cubicBezTo>
                  <a:pt x="209" y="648"/>
                  <a:pt x="216" y="641"/>
                  <a:pt x="223" y="634"/>
                </a:cubicBezTo>
                <a:moveTo>
                  <a:pt x="271" y="518"/>
                </a:moveTo>
                <a:cubicBezTo>
                  <a:pt x="266" y="514"/>
                  <a:pt x="262" y="512"/>
                  <a:pt x="258" y="509"/>
                </a:cubicBezTo>
                <a:cubicBezTo>
                  <a:pt x="257" y="509"/>
                  <a:pt x="255" y="509"/>
                  <a:pt x="255" y="509"/>
                </a:cubicBezTo>
                <a:cubicBezTo>
                  <a:pt x="249" y="515"/>
                  <a:pt x="243" y="520"/>
                  <a:pt x="238" y="525"/>
                </a:cubicBezTo>
                <a:cubicBezTo>
                  <a:pt x="238" y="526"/>
                  <a:pt x="238" y="526"/>
                  <a:pt x="239" y="526"/>
                </a:cubicBezTo>
                <a:cubicBezTo>
                  <a:pt x="249" y="524"/>
                  <a:pt x="259" y="521"/>
                  <a:pt x="271" y="518"/>
                </a:cubicBezTo>
                <a:moveTo>
                  <a:pt x="206" y="720"/>
                </a:moveTo>
                <a:cubicBezTo>
                  <a:pt x="206" y="719"/>
                  <a:pt x="206" y="719"/>
                  <a:pt x="206" y="719"/>
                </a:cubicBezTo>
                <a:cubicBezTo>
                  <a:pt x="196" y="722"/>
                  <a:pt x="186" y="726"/>
                  <a:pt x="177" y="730"/>
                </a:cubicBezTo>
                <a:cubicBezTo>
                  <a:pt x="176" y="730"/>
                  <a:pt x="175" y="731"/>
                  <a:pt x="175" y="732"/>
                </a:cubicBezTo>
                <a:cubicBezTo>
                  <a:pt x="173" y="736"/>
                  <a:pt x="173" y="740"/>
                  <a:pt x="171" y="745"/>
                </a:cubicBezTo>
                <a:cubicBezTo>
                  <a:pt x="184" y="736"/>
                  <a:pt x="195" y="728"/>
                  <a:pt x="206" y="720"/>
                </a:cubicBezTo>
                <a:moveTo>
                  <a:pt x="431" y="534"/>
                </a:moveTo>
                <a:cubicBezTo>
                  <a:pt x="442" y="525"/>
                  <a:pt x="453" y="516"/>
                  <a:pt x="465" y="507"/>
                </a:cubicBezTo>
                <a:cubicBezTo>
                  <a:pt x="464" y="507"/>
                  <a:pt x="464" y="506"/>
                  <a:pt x="464" y="506"/>
                </a:cubicBezTo>
                <a:cubicBezTo>
                  <a:pt x="452" y="512"/>
                  <a:pt x="439" y="518"/>
                  <a:pt x="427" y="524"/>
                </a:cubicBezTo>
                <a:cubicBezTo>
                  <a:pt x="428" y="527"/>
                  <a:pt x="429" y="530"/>
                  <a:pt x="431" y="534"/>
                </a:cubicBezTo>
                <a:moveTo>
                  <a:pt x="296" y="284"/>
                </a:moveTo>
                <a:cubicBezTo>
                  <a:pt x="296" y="285"/>
                  <a:pt x="296" y="285"/>
                  <a:pt x="296" y="286"/>
                </a:cubicBezTo>
                <a:cubicBezTo>
                  <a:pt x="304" y="290"/>
                  <a:pt x="312" y="296"/>
                  <a:pt x="322" y="290"/>
                </a:cubicBezTo>
                <a:cubicBezTo>
                  <a:pt x="324" y="288"/>
                  <a:pt x="328" y="288"/>
                  <a:pt x="331" y="287"/>
                </a:cubicBezTo>
                <a:cubicBezTo>
                  <a:pt x="334" y="286"/>
                  <a:pt x="337" y="285"/>
                  <a:pt x="340" y="284"/>
                </a:cubicBezTo>
                <a:cubicBezTo>
                  <a:pt x="296" y="284"/>
                  <a:pt x="296" y="284"/>
                  <a:pt x="296" y="284"/>
                </a:cubicBezTo>
                <a:moveTo>
                  <a:pt x="339" y="472"/>
                </a:moveTo>
                <a:cubicBezTo>
                  <a:pt x="343" y="473"/>
                  <a:pt x="346" y="476"/>
                  <a:pt x="348" y="476"/>
                </a:cubicBezTo>
                <a:cubicBezTo>
                  <a:pt x="358" y="474"/>
                  <a:pt x="368" y="471"/>
                  <a:pt x="378" y="468"/>
                </a:cubicBezTo>
                <a:cubicBezTo>
                  <a:pt x="378" y="468"/>
                  <a:pt x="378" y="467"/>
                  <a:pt x="378" y="466"/>
                </a:cubicBezTo>
                <a:cubicBezTo>
                  <a:pt x="366" y="468"/>
                  <a:pt x="353" y="463"/>
                  <a:pt x="339" y="472"/>
                </a:cubicBezTo>
                <a:moveTo>
                  <a:pt x="150" y="696"/>
                </a:moveTo>
                <a:cubicBezTo>
                  <a:pt x="149" y="696"/>
                  <a:pt x="149" y="696"/>
                  <a:pt x="149" y="695"/>
                </a:cubicBezTo>
                <a:cubicBezTo>
                  <a:pt x="143" y="697"/>
                  <a:pt x="137" y="700"/>
                  <a:pt x="131" y="702"/>
                </a:cubicBezTo>
                <a:cubicBezTo>
                  <a:pt x="122" y="704"/>
                  <a:pt x="119" y="710"/>
                  <a:pt x="119" y="719"/>
                </a:cubicBezTo>
                <a:cubicBezTo>
                  <a:pt x="129" y="711"/>
                  <a:pt x="139" y="704"/>
                  <a:pt x="150" y="696"/>
                </a:cubicBezTo>
                <a:moveTo>
                  <a:pt x="431" y="379"/>
                </a:moveTo>
                <a:cubicBezTo>
                  <a:pt x="435" y="378"/>
                  <a:pt x="438" y="376"/>
                  <a:pt x="441" y="374"/>
                </a:cubicBezTo>
                <a:cubicBezTo>
                  <a:pt x="437" y="365"/>
                  <a:pt x="433" y="357"/>
                  <a:pt x="428" y="348"/>
                </a:cubicBezTo>
                <a:cubicBezTo>
                  <a:pt x="428" y="348"/>
                  <a:pt x="428" y="348"/>
                  <a:pt x="427" y="348"/>
                </a:cubicBezTo>
                <a:cubicBezTo>
                  <a:pt x="428" y="358"/>
                  <a:pt x="429" y="368"/>
                  <a:pt x="431" y="379"/>
                </a:cubicBezTo>
                <a:moveTo>
                  <a:pt x="261" y="360"/>
                </a:moveTo>
                <a:cubicBezTo>
                  <a:pt x="266" y="354"/>
                  <a:pt x="269" y="348"/>
                  <a:pt x="274" y="342"/>
                </a:cubicBezTo>
                <a:cubicBezTo>
                  <a:pt x="270" y="341"/>
                  <a:pt x="267" y="340"/>
                  <a:pt x="264" y="340"/>
                </a:cubicBezTo>
                <a:cubicBezTo>
                  <a:pt x="261" y="346"/>
                  <a:pt x="256" y="352"/>
                  <a:pt x="261" y="360"/>
                </a:cubicBezTo>
                <a:moveTo>
                  <a:pt x="687" y="366"/>
                </a:moveTo>
                <a:cubicBezTo>
                  <a:pt x="685" y="366"/>
                  <a:pt x="683" y="365"/>
                  <a:pt x="681" y="364"/>
                </a:cubicBezTo>
                <a:cubicBezTo>
                  <a:pt x="680" y="371"/>
                  <a:pt x="678" y="378"/>
                  <a:pt x="677" y="385"/>
                </a:cubicBezTo>
                <a:cubicBezTo>
                  <a:pt x="677" y="386"/>
                  <a:pt x="679" y="387"/>
                  <a:pt x="680" y="388"/>
                </a:cubicBezTo>
                <a:cubicBezTo>
                  <a:pt x="681" y="388"/>
                  <a:pt x="683" y="386"/>
                  <a:pt x="683" y="385"/>
                </a:cubicBezTo>
                <a:cubicBezTo>
                  <a:pt x="685" y="379"/>
                  <a:pt x="686" y="373"/>
                  <a:pt x="687" y="366"/>
                </a:cubicBezTo>
                <a:moveTo>
                  <a:pt x="690" y="374"/>
                </a:moveTo>
                <a:cubicBezTo>
                  <a:pt x="688" y="382"/>
                  <a:pt x="686" y="389"/>
                  <a:pt x="684" y="397"/>
                </a:cubicBezTo>
                <a:cubicBezTo>
                  <a:pt x="688" y="398"/>
                  <a:pt x="690" y="398"/>
                  <a:pt x="690" y="395"/>
                </a:cubicBezTo>
                <a:cubicBezTo>
                  <a:pt x="692" y="389"/>
                  <a:pt x="693" y="383"/>
                  <a:pt x="695" y="377"/>
                </a:cubicBezTo>
                <a:cubicBezTo>
                  <a:pt x="695" y="377"/>
                  <a:pt x="695" y="376"/>
                  <a:pt x="695" y="375"/>
                </a:cubicBezTo>
                <a:cubicBezTo>
                  <a:pt x="694" y="375"/>
                  <a:pt x="693" y="375"/>
                  <a:pt x="693" y="375"/>
                </a:cubicBezTo>
                <a:cubicBezTo>
                  <a:pt x="692" y="375"/>
                  <a:pt x="691" y="375"/>
                  <a:pt x="690" y="374"/>
                </a:cubicBezTo>
                <a:moveTo>
                  <a:pt x="19" y="860"/>
                </a:moveTo>
                <a:cubicBezTo>
                  <a:pt x="29" y="850"/>
                  <a:pt x="22" y="840"/>
                  <a:pt x="19" y="830"/>
                </a:cubicBezTo>
                <a:cubicBezTo>
                  <a:pt x="19" y="860"/>
                  <a:pt x="19" y="860"/>
                  <a:pt x="19" y="860"/>
                </a:cubicBezTo>
                <a:moveTo>
                  <a:pt x="172" y="654"/>
                </a:moveTo>
                <a:cubicBezTo>
                  <a:pt x="175" y="657"/>
                  <a:pt x="178" y="660"/>
                  <a:pt x="181" y="664"/>
                </a:cubicBezTo>
                <a:cubicBezTo>
                  <a:pt x="183" y="658"/>
                  <a:pt x="184" y="653"/>
                  <a:pt x="185" y="648"/>
                </a:cubicBezTo>
                <a:cubicBezTo>
                  <a:pt x="181" y="650"/>
                  <a:pt x="177" y="652"/>
                  <a:pt x="172" y="654"/>
                </a:cubicBezTo>
                <a:moveTo>
                  <a:pt x="158" y="340"/>
                </a:moveTo>
                <a:cubicBezTo>
                  <a:pt x="167" y="341"/>
                  <a:pt x="176" y="343"/>
                  <a:pt x="185" y="344"/>
                </a:cubicBezTo>
                <a:cubicBezTo>
                  <a:pt x="185" y="340"/>
                  <a:pt x="184" y="338"/>
                  <a:pt x="180" y="339"/>
                </a:cubicBezTo>
                <a:cubicBezTo>
                  <a:pt x="173" y="339"/>
                  <a:pt x="166" y="339"/>
                  <a:pt x="158" y="340"/>
                </a:cubicBezTo>
                <a:moveTo>
                  <a:pt x="18" y="806"/>
                </a:moveTo>
                <a:cubicBezTo>
                  <a:pt x="28" y="800"/>
                  <a:pt x="30" y="796"/>
                  <a:pt x="27" y="788"/>
                </a:cubicBezTo>
                <a:cubicBezTo>
                  <a:pt x="24" y="795"/>
                  <a:pt x="21" y="800"/>
                  <a:pt x="18" y="806"/>
                </a:cubicBezTo>
                <a:moveTo>
                  <a:pt x="409" y="411"/>
                </a:moveTo>
                <a:cubicBezTo>
                  <a:pt x="409" y="411"/>
                  <a:pt x="409" y="410"/>
                  <a:pt x="409" y="410"/>
                </a:cubicBezTo>
                <a:cubicBezTo>
                  <a:pt x="404" y="409"/>
                  <a:pt x="399" y="407"/>
                  <a:pt x="393" y="406"/>
                </a:cubicBezTo>
                <a:cubicBezTo>
                  <a:pt x="393" y="407"/>
                  <a:pt x="393" y="408"/>
                  <a:pt x="392" y="408"/>
                </a:cubicBezTo>
                <a:cubicBezTo>
                  <a:pt x="394" y="410"/>
                  <a:pt x="396" y="414"/>
                  <a:pt x="398" y="414"/>
                </a:cubicBezTo>
                <a:cubicBezTo>
                  <a:pt x="402" y="414"/>
                  <a:pt x="405" y="412"/>
                  <a:pt x="409" y="411"/>
                </a:cubicBezTo>
                <a:moveTo>
                  <a:pt x="81" y="753"/>
                </a:moveTo>
                <a:cubicBezTo>
                  <a:pt x="81" y="752"/>
                  <a:pt x="82" y="752"/>
                  <a:pt x="82" y="751"/>
                </a:cubicBezTo>
                <a:cubicBezTo>
                  <a:pt x="79" y="750"/>
                  <a:pt x="77" y="748"/>
                  <a:pt x="74" y="746"/>
                </a:cubicBezTo>
                <a:cubicBezTo>
                  <a:pt x="72" y="749"/>
                  <a:pt x="71" y="752"/>
                  <a:pt x="69" y="754"/>
                </a:cubicBezTo>
                <a:cubicBezTo>
                  <a:pt x="70" y="755"/>
                  <a:pt x="70" y="755"/>
                  <a:pt x="70" y="756"/>
                </a:cubicBezTo>
                <a:cubicBezTo>
                  <a:pt x="74" y="755"/>
                  <a:pt x="78" y="754"/>
                  <a:pt x="81" y="753"/>
                </a:cubicBezTo>
                <a:moveTo>
                  <a:pt x="674" y="373"/>
                </a:moveTo>
                <a:cubicBezTo>
                  <a:pt x="672" y="374"/>
                  <a:pt x="669" y="374"/>
                  <a:pt x="669" y="375"/>
                </a:cubicBezTo>
                <a:cubicBezTo>
                  <a:pt x="668" y="379"/>
                  <a:pt x="668" y="383"/>
                  <a:pt x="668" y="387"/>
                </a:cubicBezTo>
                <a:cubicBezTo>
                  <a:pt x="668" y="388"/>
                  <a:pt x="669" y="389"/>
                  <a:pt x="670" y="389"/>
                </a:cubicBezTo>
                <a:cubicBezTo>
                  <a:pt x="671" y="389"/>
                  <a:pt x="672" y="388"/>
                  <a:pt x="672" y="387"/>
                </a:cubicBezTo>
                <a:cubicBezTo>
                  <a:pt x="673" y="383"/>
                  <a:pt x="673" y="379"/>
                  <a:pt x="674" y="373"/>
                </a:cubicBezTo>
                <a:moveTo>
                  <a:pt x="266" y="576"/>
                </a:moveTo>
                <a:cubicBezTo>
                  <a:pt x="266" y="576"/>
                  <a:pt x="265" y="575"/>
                  <a:pt x="265" y="575"/>
                </a:cubicBezTo>
                <a:cubicBezTo>
                  <a:pt x="259" y="579"/>
                  <a:pt x="250" y="578"/>
                  <a:pt x="247" y="586"/>
                </a:cubicBezTo>
                <a:cubicBezTo>
                  <a:pt x="248" y="586"/>
                  <a:pt x="248" y="587"/>
                  <a:pt x="249" y="588"/>
                </a:cubicBezTo>
                <a:cubicBezTo>
                  <a:pt x="254" y="584"/>
                  <a:pt x="260" y="580"/>
                  <a:pt x="266" y="576"/>
                </a:cubicBezTo>
                <a:moveTo>
                  <a:pt x="233" y="335"/>
                </a:moveTo>
                <a:cubicBezTo>
                  <a:pt x="226" y="344"/>
                  <a:pt x="224" y="348"/>
                  <a:pt x="226" y="352"/>
                </a:cubicBezTo>
                <a:cubicBezTo>
                  <a:pt x="234" y="346"/>
                  <a:pt x="235" y="342"/>
                  <a:pt x="233" y="335"/>
                </a:cubicBezTo>
                <a:moveTo>
                  <a:pt x="704" y="390"/>
                </a:moveTo>
                <a:cubicBezTo>
                  <a:pt x="702" y="389"/>
                  <a:pt x="699" y="389"/>
                  <a:pt x="699" y="389"/>
                </a:cubicBezTo>
                <a:cubicBezTo>
                  <a:pt x="698" y="393"/>
                  <a:pt x="697" y="397"/>
                  <a:pt x="696" y="400"/>
                </a:cubicBezTo>
                <a:cubicBezTo>
                  <a:pt x="696" y="401"/>
                  <a:pt x="698" y="402"/>
                  <a:pt x="700" y="403"/>
                </a:cubicBezTo>
                <a:cubicBezTo>
                  <a:pt x="701" y="398"/>
                  <a:pt x="702" y="395"/>
                  <a:pt x="704" y="390"/>
                </a:cubicBezTo>
                <a:moveTo>
                  <a:pt x="202" y="309"/>
                </a:moveTo>
                <a:cubicBezTo>
                  <a:pt x="208" y="308"/>
                  <a:pt x="217" y="314"/>
                  <a:pt x="221" y="303"/>
                </a:cubicBezTo>
                <a:cubicBezTo>
                  <a:pt x="215" y="304"/>
                  <a:pt x="209" y="306"/>
                  <a:pt x="204" y="308"/>
                </a:cubicBezTo>
                <a:cubicBezTo>
                  <a:pt x="203" y="308"/>
                  <a:pt x="202" y="308"/>
                  <a:pt x="202" y="309"/>
                </a:cubicBezTo>
                <a:moveTo>
                  <a:pt x="388" y="344"/>
                </a:moveTo>
                <a:cubicBezTo>
                  <a:pt x="376" y="342"/>
                  <a:pt x="375" y="342"/>
                  <a:pt x="376" y="349"/>
                </a:cubicBezTo>
                <a:cubicBezTo>
                  <a:pt x="380" y="348"/>
                  <a:pt x="383" y="346"/>
                  <a:pt x="388" y="344"/>
                </a:cubicBezTo>
                <a:moveTo>
                  <a:pt x="284" y="508"/>
                </a:moveTo>
                <a:cubicBezTo>
                  <a:pt x="288" y="509"/>
                  <a:pt x="291" y="511"/>
                  <a:pt x="295" y="512"/>
                </a:cubicBezTo>
                <a:cubicBezTo>
                  <a:pt x="294" y="505"/>
                  <a:pt x="293" y="505"/>
                  <a:pt x="284" y="508"/>
                </a:cubicBezTo>
                <a:moveTo>
                  <a:pt x="203" y="356"/>
                </a:moveTo>
                <a:cubicBezTo>
                  <a:pt x="202" y="349"/>
                  <a:pt x="201" y="348"/>
                  <a:pt x="192" y="351"/>
                </a:cubicBezTo>
                <a:cubicBezTo>
                  <a:pt x="196" y="353"/>
                  <a:pt x="199" y="354"/>
                  <a:pt x="203" y="356"/>
                </a:cubicBezTo>
                <a:moveTo>
                  <a:pt x="9" y="859"/>
                </a:moveTo>
                <a:cubicBezTo>
                  <a:pt x="6" y="854"/>
                  <a:pt x="5" y="855"/>
                  <a:pt x="0" y="861"/>
                </a:cubicBezTo>
                <a:cubicBezTo>
                  <a:pt x="4" y="861"/>
                  <a:pt x="6" y="860"/>
                  <a:pt x="9" y="859"/>
                </a:cubicBezTo>
                <a:moveTo>
                  <a:pt x="268" y="536"/>
                </a:moveTo>
                <a:cubicBezTo>
                  <a:pt x="265" y="536"/>
                  <a:pt x="264" y="536"/>
                  <a:pt x="262" y="536"/>
                </a:cubicBezTo>
                <a:cubicBezTo>
                  <a:pt x="261" y="536"/>
                  <a:pt x="260" y="537"/>
                  <a:pt x="259" y="537"/>
                </a:cubicBezTo>
                <a:cubicBezTo>
                  <a:pt x="260" y="538"/>
                  <a:pt x="261" y="539"/>
                  <a:pt x="262" y="539"/>
                </a:cubicBezTo>
                <a:cubicBezTo>
                  <a:pt x="264" y="538"/>
                  <a:pt x="266" y="537"/>
                  <a:pt x="268" y="536"/>
                </a:cubicBezTo>
                <a:moveTo>
                  <a:pt x="1237" y="94"/>
                </a:moveTo>
                <a:cubicBezTo>
                  <a:pt x="1237" y="176"/>
                  <a:pt x="1237" y="176"/>
                  <a:pt x="1237" y="176"/>
                </a:cubicBezTo>
                <a:cubicBezTo>
                  <a:pt x="1209" y="94"/>
                  <a:pt x="1209" y="94"/>
                  <a:pt x="1209" y="94"/>
                </a:cubicBezTo>
                <a:cubicBezTo>
                  <a:pt x="1182" y="94"/>
                  <a:pt x="1182" y="94"/>
                  <a:pt x="1182" y="94"/>
                </a:cubicBezTo>
                <a:cubicBezTo>
                  <a:pt x="1182" y="249"/>
                  <a:pt x="1182" y="249"/>
                  <a:pt x="1182" y="249"/>
                </a:cubicBezTo>
                <a:cubicBezTo>
                  <a:pt x="1209" y="249"/>
                  <a:pt x="1209" y="249"/>
                  <a:pt x="1209" y="249"/>
                </a:cubicBezTo>
                <a:cubicBezTo>
                  <a:pt x="1209" y="167"/>
                  <a:pt x="1209" y="167"/>
                  <a:pt x="1209" y="167"/>
                </a:cubicBezTo>
                <a:cubicBezTo>
                  <a:pt x="1238" y="249"/>
                  <a:pt x="1238" y="249"/>
                  <a:pt x="1238" y="249"/>
                </a:cubicBezTo>
                <a:cubicBezTo>
                  <a:pt x="1264" y="249"/>
                  <a:pt x="1264" y="249"/>
                  <a:pt x="1264" y="249"/>
                </a:cubicBezTo>
                <a:cubicBezTo>
                  <a:pt x="1264" y="94"/>
                  <a:pt x="1264" y="94"/>
                  <a:pt x="1264" y="94"/>
                </a:cubicBezTo>
                <a:lnTo>
                  <a:pt x="1237" y="94"/>
                </a:lnTo>
                <a:close/>
                <a:moveTo>
                  <a:pt x="219" y="3"/>
                </a:moveTo>
                <a:cubicBezTo>
                  <a:pt x="211" y="22"/>
                  <a:pt x="211" y="22"/>
                  <a:pt x="211" y="22"/>
                </a:cubicBezTo>
                <a:cubicBezTo>
                  <a:pt x="248" y="50"/>
                  <a:pt x="248" y="50"/>
                  <a:pt x="248" y="50"/>
                </a:cubicBezTo>
                <a:lnTo>
                  <a:pt x="219" y="3"/>
                </a:lnTo>
                <a:close/>
                <a:moveTo>
                  <a:pt x="222" y="128"/>
                </a:moveTo>
                <a:cubicBezTo>
                  <a:pt x="241" y="158"/>
                  <a:pt x="241" y="158"/>
                  <a:pt x="241" y="158"/>
                </a:cubicBezTo>
                <a:cubicBezTo>
                  <a:pt x="272" y="128"/>
                  <a:pt x="272" y="128"/>
                  <a:pt x="272" y="128"/>
                </a:cubicBezTo>
                <a:lnTo>
                  <a:pt x="222" y="128"/>
                </a:lnTo>
                <a:close/>
                <a:moveTo>
                  <a:pt x="257" y="220"/>
                </a:moveTo>
                <a:cubicBezTo>
                  <a:pt x="280" y="244"/>
                  <a:pt x="280" y="244"/>
                  <a:pt x="280" y="244"/>
                </a:cubicBezTo>
                <a:cubicBezTo>
                  <a:pt x="286" y="222"/>
                  <a:pt x="286" y="222"/>
                  <a:pt x="286" y="222"/>
                </a:cubicBezTo>
                <a:lnTo>
                  <a:pt x="257" y="220"/>
                </a:lnTo>
                <a:close/>
                <a:moveTo>
                  <a:pt x="354" y="110"/>
                </a:moveTo>
                <a:cubicBezTo>
                  <a:pt x="356" y="104"/>
                  <a:pt x="356" y="104"/>
                  <a:pt x="356" y="104"/>
                </a:cubicBezTo>
                <a:cubicBezTo>
                  <a:pt x="348" y="105"/>
                  <a:pt x="348" y="105"/>
                  <a:pt x="348" y="105"/>
                </a:cubicBezTo>
                <a:lnTo>
                  <a:pt x="354" y="110"/>
                </a:lnTo>
                <a:close/>
                <a:moveTo>
                  <a:pt x="302" y="178"/>
                </a:moveTo>
                <a:cubicBezTo>
                  <a:pt x="318" y="167"/>
                  <a:pt x="318" y="167"/>
                  <a:pt x="318" y="167"/>
                </a:cubicBezTo>
                <a:cubicBezTo>
                  <a:pt x="309" y="162"/>
                  <a:pt x="309" y="162"/>
                  <a:pt x="309" y="162"/>
                </a:cubicBezTo>
                <a:lnTo>
                  <a:pt x="302" y="178"/>
                </a:lnTo>
                <a:close/>
                <a:moveTo>
                  <a:pt x="291" y="104"/>
                </a:moveTo>
                <a:cubicBezTo>
                  <a:pt x="291" y="104"/>
                  <a:pt x="291" y="104"/>
                  <a:pt x="291" y="104"/>
                </a:cubicBezTo>
                <a:cubicBezTo>
                  <a:pt x="291" y="104"/>
                  <a:pt x="291" y="104"/>
                  <a:pt x="291" y="104"/>
                </a:cubicBezTo>
                <a:cubicBezTo>
                  <a:pt x="291" y="104"/>
                  <a:pt x="291" y="104"/>
                  <a:pt x="291" y="104"/>
                </a:cubicBezTo>
                <a:close/>
                <a:moveTo>
                  <a:pt x="406" y="179"/>
                </a:moveTo>
                <a:cubicBezTo>
                  <a:pt x="407" y="173"/>
                  <a:pt x="407" y="173"/>
                  <a:pt x="407" y="173"/>
                </a:cubicBezTo>
                <a:cubicBezTo>
                  <a:pt x="404" y="174"/>
                  <a:pt x="402" y="175"/>
                  <a:pt x="399" y="176"/>
                </a:cubicBezTo>
                <a:cubicBezTo>
                  <a:pt x="406" y="180"/>
                  <a:pt x="406" y="180"/>
                  <a:pt x="406" y="180"/>
                </a:cubicBezTo>
                <a:lnTo>
                  <a:pt x="406" y="179"/>
                </a:lnTo>
                <a:close/>
                <a:moveTo>
                  <a:pt x="362" y="117"/>
                </a:moveTo>
                <a:cubicBezTo>
                  <a:pt x="386" y="102"/>
                  <a:pt x="386" y="102"/>
                  <a:pt x="386" y="102"/>
                </a:cubicBezTo>
                <a:cubicBezTo>
                  <a:pt x="356" y="104"/>
                  <a:pt x="356" y="104"/>
                  <a:pt x="356" y="104"/>
                </a:cubicBezTo>
                <a:cubicBezTo>
                  <a:pt x="354" y="110"/>
                  <a:pt x="354" y="110"/>
                  <a:pt x="354" y="110"/>
                </a:cubicBezTo>
                <a:lnTo>
                  <a:pt x="362" y="117"/>
                </a:lnTo>
                <a:close/>
                <a:moveTo>
                  <a:pt x="363" y="159"/>
                </a:moveTo>
                <a:cubicBezTo>
                  <a:pt x="362" y="160"/>
                  <a:pt x="362" y="160"/>
                  <a:pt x="362" y="160"/>
                </a:cubicBezTo>
                <a:cubicBezTo>
                  <a:pt x="374" y="159"/>
                  <a:pt x="374" y="159"/>
                  <a:pt x="374" y="159"/>
                </a:cubicBezTo>
                <a:cubicBezTo>
                  <a:pt x="361" y="152"/>
                  <a:pt x="361" y="152"/>
                  <a:pt x="361" y="152"/>
                </a:cubicBezTo>
                <a:cubicBezTo>
                  <a:pt x="360" y="153"/>
                  <a:pt x="360" y="153"/>
                  <a:pt x="360" y="153"/>
                </a:cubicBezTo>
                <a:lnTo>
                  <a:pt x="363" y="159"/>
                </a:lnTo>
                <a:close/>
                <a:moveTo>
                  <a:pt x="158" y="206"/>
                </a:moveTo>
                <a:cubicBezTo>
                  <a:pt x="226" y="186"/>
                  <a:pt x="226" y="186"/>
                  <a:pt x="226" y="186"/>
                </a:cubicBezTo>
                <a:cubicBezTo>
                  <a:pt x="176" y="189"/>
                  <a:pt x="176" y="189"/>
                  <a:pt x="176" y="189"/>
                </a:cubicBezTo>
                <a:lnTo>
                  <a:pt x="158" y="206"/>
                </a:lnTo>
                <a:close/>
                <a:moveTo>
                  <a:pt x="326" y="130"/>
                </a:moveTo>
                <a:cubicBezTo>
                  <a:pt x="328" y="106"/>
                  <a:pt x="328" y="106"/>
                  <a:pt x="328" y="106"/>
                </a:cubicBezTo>
                <a:cubicBezTo>
                  <a:pt x="323" y="107"/>
                  <a:pt x="323" y="107"/>
                  <a:pt x="323" y="107"/>
                </a:cubicBezTo>
                <a:cubicBezTo>
                  <a:pt x="312" y="121"/>
                  <a:pt x="312" y="121"/>
                  <a:pt x="312" y="121"/>
                </a:cubicBezTo>
                <a:lnTo>
                  <a:pt x="326" y="130"/>
                </a:lnTo>
                <a:close/>
                <a:moveTo>
                  <a:pt x="325" y="150"/>
                </a:moveTo>
                <a:cubicBezTo>
                  <a:pt x="325" y="150"/>
                  <a:pt x="325" y="150"/>
                  <a:pt x="325" y="150"/>
                </a:cubicBezTo>
                <a:moveTo>
                  <a:pt x="291" y="104"/>
                </a:moveTo>
                <a:cubicBezTo>
                  <a:pt x="291" y="104"/>
                  <a:pt x="291" y="104"/>
                  <a:pt x="291" y="104"/>
                </a:cubicBezTo>
                <a:cubicBezTo>
                  <a:pt x="291" y="104"/>
                  <a:pt x="291" y="104"/>
                  <a:pt x="291" y="104"/>
                </a:cubicBezTo>
                <a:close/>
                <a:moveTo>
                  <a:pt x="350" y="125"/>
                </a:moveTo>
                <a:cubicBezTo>
                  <a:pt x="362" y="117"/>
                  <a:pt x="362" y="117"/>
                  <a:pt x="362" y="117"/>
                </a:cubicBezTo>
                <a:cubicBezTo>
                  <a:pt x="354" y="110"/>
                  <a:pt x="354" y="110"/>
                  <a:pt x="354" y="110"/>
                </a:cubicBezTo>
                <a:lnTo>
                  <a:pt x="350" y="125"/>
                </a:lnTo>
                <a:close/>
                <a:moveTo>
                  <a:pt x="329" y="100"/>
                </a:moveTo>
                <a:cubicBezTo>
                  <a:pt x="323" y="107"/>
                  <a:pt x="323" y="107"/>
                  <a:pt x="323" y="107"/>
                </a:cubicBezTo>
                <a:cubicBezTo>
                  <a:pt x="328" y="106"/>
                  <a:pt x="328" y="106"/>
                  <a:pt x="328" y="106"/>
                </a:cubicBezTo>
                <a:lnTo>
                  <a:pt x="329" y="100"/>
                </a:lnTo>
                <a:close/>
                <a:moveTo>
                  <a:pt x="343" y="179"/>
                </a:moveTo>
                <a:cubicBezTo>
                  <a:pt x="348" y="188"/>
                  <a:pt x="348" y="188"/>
                  <a:pt x="348" y="188"/>
                </a:cubicBezTo>
                <a:cubicBezTo>
                  <a:pt x="355" y="174"/>
                  <a:pt x="355" y="174"/>
                  <a:pt x="355" y="174"/>
                </a:cubicBezTo>
                <a:cubicBezTo>
                  <a:pt x="344" y="177"/>
                  <a:pt x="344" y="177"/>
                  <a:pt x="344" y="177"/>
                </a:cubicBezTo>
                <a:lnTo>
                  <a:pt x="343" y="179"/>
                </a:lnTo>
                <a:close/>
                <a:moveTo>
                  <a:pt x="360" y="153"/>
                </a:moveTo>
                <a:cubicBezTo>
                  <a:pt x="361" y="152"/>
                  <a:pt x="361" y="152"/>
                  <a:pt x="361" y="152"/>
                </a:cubicBezTo>
                <a:cubicBezTo>
                  <a:pt x="359" y="150"/>
                  <a:pt x="359" y="150"/>
                  <a:pt x="359" y="150"/>
                </a:cubicBezTo>
                <a:lnTo>
                  <a:pt x="360" y="153"/>
                </a:lnTo>
                <a:close/>
                <a:moveTo>
                  <a:pt x="360" y="153"/>
                </a:moveTo>
                <a:cubicBezTo>
                  <a:pt x="355" y="160"/>
                  <a:pt x="355" y="160"/>
                  <a:pt x="355" y="160"/>
                </a:cubicBezTo>
                <a:cubicBezTo>
                  <a:pt x="362" y="160"/>
                  <a:pt x="362" y="160"/>
                  <a:pt x="362" y="160"/>
                </a:cubicBezTo>
                <a:cubicBezTo>
                  <a:pt x="363" y="159"/>
                  <a:pt x="363" y="159"/>
                  <a:pt x="363" y="159"/>
                </a:cubicBezTo>
                <a:lnTo>
                  <a:pt x="360" y="153"/>
                </a:lnTo>
                <a:close/>
                <a:moveTo>
                  <a:pt x="336" y="106"/>
                </a:moveTo>
                <a:cubicBezTo>
                  <a:pt x="348" y="105"/>
                  <a:pt x="348" y="105"/>
                  <a:pt x="348" y="105"/>
                </a:cubicBezTo>
                <a:cubicBezTo>
                  <a:pt x="335" y="93"/>
                  <a:pt x="335" y="93"/>
                  <a:pt x="335" y="93"/>
                </a:cubicBezTo>
                <a:lnTo>
                  <a:pt x="336" y="106"/>
                </a:lnTo>
                <a:close/>
                <a:moveTo>
                  <a:pt x="343" y="179"/>
                </a:moveTo>
                <a:cubicBezTo>
                  <a:pt x="344" y="177"/>
                  <a:pt x="344" y="177"/>
                  <a:pt x="344" y="177"/>
                </a:cubicBezTo>
                <a:cubicBezTo>
                  <a:pt x="342" y="177"/>
                  <a:pt x="342" y="177"/>
                  <a:pt x="342" y="177"/>
                </a:cubicBezTo>
                <a:lnTo>
                  <a:pt x="343" y="179"/>
                </a:lnTo>
                <a:close/>
                <a:moveTo>
                  <a:pt x="339" y="162"/>
                </a:moveTo>
                <a:cubicBezTo>
                  <a:pt x="355" y="160"/>
                  <a:pt x="355" y="160"/>
                  <a:pt x="355" y="160"/>
                </a:cubicBezTo>
                <a:cubicBezTo>
                  <a:pt x="360" y="153"/>
                  <a:pt x="360" y="153"/>
                  <a:pt x="360" y="153"/>
                </a:cubicBezTo>
                <a:cubicBezTo>
                  <a:pt x="359" y="150"/>
                  <a:pt x="359" y="150"/>
                  <a:pt x="359" y="150"/>
                </a:cubicBezTo>
                <a:cubicBezTo>
                  <a:pt x="338" y="137"/>
                  <a:pt x="338" y="137"/>
                  <a:pt x="338" y="137"/>
                </a:cubicBezTo>
                <a:lnTo>
                  <a:pt x="339" y="162"/>
                </a:lnTo>
                <a:close/>
                <a:moveTo>
                  <a:pt x="313" y="60"/>
                </a:moveTo>
                <a:cubicBezTo>
                  <a:pt x="312" y="61"/>
                  <a:pt x="312" y="61"/>
                  <a:pt x="312" y="61"/>
                </a:cubicBezTo>
                <a:cubicBezTo>
                  <a:pt x="312" y="61"/>
                  <a:pt x="312" y="61"/>
                  <a:pt x="312" y="61"/>
                </a:cubicBezTo>
                <a:cubicBezTo>
                  <a:pt x="312" y="61"/>
                  <a:pt x="313" y="61"/>
                  <a:pt x="313" y="61"/>
                </a:cubicBezTo>
                <a:lnTo>
                  <a:pt x="313" y="60"/>
                </a:lnTo>
                <a:close/>
                <a:moveTo>
                  <a:pt x="318" y="50"/>
                </a:moveTo>
                <a:cubicBezTo>
                  <a:pt x="314" y="38"/>
                  <a:pt x="314" y="38"/>
                  <a:pt x="314" y="38"/>
                </a:cubicBezTo>
                <a:cubicBezTo>
                  <a:pt x="313" y="57"/>
                  <a:pt x="313" y="57"/>
                  <a:pt x="313" y="57"/>
                </a:cubicBezTo>
                <a:cubicBezTo>
                  <a:pt x="313" y="56"/>
                  <a:pt x="314" y="56"/>
                  <a:pt x="315" y="56"/>
                </a:cubicBezTo>
                <a:lnTo>
                  <a:pt x="318" y="50"/>
                </a:lnTo>
                <a:close/>
                <a:moveTo>
                  <a:pt x="320" y="54"/>
                </a:moveTo>
                <a:cubicBezTo>
                  <a:pt x="318" y="50"/>
                  <a:pt x="318" y="50"/>
                  <a:pt x="318" y="50"/>
                </a:cubicBezTo>
                <a:cubicBezTo>
                  <a:pt x="315" y="56"/>
                  <a:pt x="315" y="56"/>
                  <a:pt x="315" y="56"/>
                </a:cubicBezTo>
                <a:cubicBezTo>
                  <a:pt x="316" y="55"/>
                  <a:pt x="318" y="55"/>
                  <a:pt x="320" y="54"/>
                </a:cubicBezTo>
                <a:close/>
                <a:moveTo>
                  <a:pt x="412" y="158"/>
                </a:moveTo>
                <a:cubicBezTo>
                  <a:pt x="408" y="147"/>
                  <a:pt x="408" y="147"/>
                  <a:pt x="408" y="147"/>
                </a:cubicBezTo>
                <a:cubicBezTo>
                  <a:pt x="399" y="163"/>
                  <a:pt x="399" y="163"/>
                  <a:pt x="399" y="163"/>
                </a:cubicBezTo>
                <a:cubicBezTo>
                  <a:pt x="403" y="161"/>
                  <a:pt x="407" y="160"/>
                  <a:pt x="412" y="158"/>
                </a:cubicBezTo>
                <a:close/>
                <a:moveTo>
                  <a:pt x="281" y="0"/>
                </a:moveTo>
                <a:cubicBezTo>
                  <a:pt x="280" y="6"/>
                  <a:pt x="280" y="6"/>
                  <a:pt x="280" y="6"/>
                </a:cubicBezTo>
                <a:cubicBezTo>
                  <a:pt x="288" y="1"/>
                  <a:pt x="288" y="1"/>
                  <a:pt x="288" y="1"/>
                </a:cubicBezTo>
                <a:cubicBezTo>
                  <a:pt x="286" y="0"/>
                  <a:pt x="283" y="0"/>
                  <a:pt x="281" y="0"/>
                </a:cubicBezTo>
                <a:close/>
                <a:moveTo>
                  <a:pt x="429" y="155"/>
                </a:moveTo>
                <a:cubicBezTo>
                  <a:pt x="424" y="162"/>
                  <a:pt x="424" y="162"/>
                  <a:pt x="424" y="162"/>
                </a:cubicBezTo>
                <a:cubicBezTo>
                  <a:pt x="429" y="162"/>
                  <a:pt x="432" y="163"/>
                  <a:pt x="436" y="163"/>
                </a:cubicBezTo>
                <a:cubicBezTo>
                  <a:pt x="430" y="154"/>
                  <a:pt x="430" y="154"/>
                  <a:pt x="430" y="154"/>
                </a:cubicBezTo>
                <a:lnTo>
                  <a:pt x="429" y="155"/>
                </a:lnTo>
                <a:close/>
                <a:moveTo>
                  <a:pt x="447" y="140"/>
                </a:moveTo>
                <a:cubicBezTo>
                  <a:pt x="446" y="147"/>
                  <a:pt x="446" y="147"/>
                  <a:pt x="446" y="147"/>
                </a:cubicBezTo>
                <a:cubicBezTo>
                  <a:pt x="456" y="141"/>
                  <a:pt x="456" y="141"/>
                  <a:pt x="456" y="141"/>
                </a:cubicBezTo>
                <a:cubicBezTo>
                  <a:pt x="454" y="140"/>
                  <a:pt x="451" y="140"/>
                  <a:pt x="447" y="140"/>
                </a:cubicBezTo>
                <a:close/>
                <a:moveTo>
                  <a:pt x="329" y="238"/>
                </a:moveTo>
                <a:cubicBezTo>
                  <a:pt x="317" y="254"/>
                  <a:pt x="317" y="254"/>
                  <a:pt x="317" y="254"/>
                </a:cubicBezTo>
                <a:cubicBezTo>
                  <a:pt x="330" y="243"/>
                  <a:pt x="330" y="243"/>
                  <a:pt x="330" y="243"/>
                </a:cubicBezTo>
                <a:lnTo>
                  <a:pt x="329" y="238"/>
                </a:lnTo>
                <a:close/>
                <a:moveTo>
                  <a:pt x="372" y="186"/>
                </a:moveTo>
                <a:cubicBezTo>
                  <a:pt x="360" y="212"/>
                  <a:pt x="360" y="212"/>
                  <a:pt x="360" y="212"/>
                </a:cubicBezTo>
                <a:cubicBezTo>
                  <a:pt x="360" y="216"/>
                  <a:pt x="360" y="216"/>
                  <a:pt x="360" y="216"/>
                </a:cubicBezTo>
                <a:cubicBezTo>
                  <a:pt x="360" y="221"/>
                  <a:pt x="360" y="225"/>
                  <a:pt x="361" y="230"/>
                </a:cubicBezTo>
                <a:cubicBezTo>
                  <a:pt x="380" y="241"/>
                  <a:pt x="380" y="241"/>
                  <a:pt x="380" y="241"/>
                </a:cubicBezTo>
                <a:cubicBezTo>
                  <a:pt x="373" y="246"/>
                  <a:pt x="373" y="246"/>
                  <a:pt x="373" y="246"/>
                </a:cubicBezTo>
                <a:cubicBezTo>
                  <a:pt x="380" y="251"/>
                  <a:pt x="389" y="253"/>
                  <a:pt x="400" y="253"/>
                </a:cubicBezTo>
                <a:cubicBezTo>
                  <a:pt x="409" y="253"/>
                  <a:pt x="417" y="251"/>
                  <a:pt x="424" y="248"/>
                </a:cubicBezTo>
                <a:cubicBezTo>
                  <a:pt x="431" y="245"/>
                  <a:pt x="435" y="241"/>
                  <a:pt x="437" y="236"/>
                </a:cubicBezTo>
                <a:cubicBezTo>
                  <a:pt x="440" y="228"/>
                  <a:pt x="441" y="220"/>
                  <a:pt x="441" y="211"/>
                </a:cubicBezTo>
                <a:cubicBezTo>
                  <a:pt x="441" y="195"/>
                  <a:pt x="441" y="195"/>
                  <a:pt x="441" y="195"/>
                </a:cubicBezTo>
                <a:cubicBezTo>
                  <a:pt x="410" y="195"/>
                  <a:pt x="410" y="195"/>
                  <a:pt x="410" y="195"/>
                </a:cubicBezTo>
                <a:cubicBezTo>
                  <a:pt x="410" y="199"/>
                  <a:pt x="410" y="202"/>
                  <a:pt x="410" y="205"/>
                </a:cubicBezTo>
                <a:cubicBezTo>
                  <a:pt x="410" y="212"/>
                  <a:pt x="410" y="217"/>
                  <a:pt x="408" y="220"/>
                </a:cubicBezTo>
                <a:cubicBezTo>
                  <a:pt x="407" y="223"/>
                  <a:pt x="404" y="224"/>
                  <a:pt x="400" y="224"/>
                </a:cubicBezTo>
                <a:cubicBezTo>
                  <a:pt x="393" y="224"/>
                  <a:pt x="390" y="219"/>
                  <a:pt x="390" y="210"/>
                </a:cubicBezTo>
                <a:cubicBezTo>
                  <a:pt x="390" y="134"/>
                  <a:pt x="390" y="134"/>
                  <a:pt x="390" y="134"/>
                </a:cubicBezTo>
                <a:cubicBezTo>
                  <a:pt x="390" y="129"/>
                  <a:pt x="391" y="126"/>
                  <a:pt x="393" y="124"/>
                </a:cubicBezTo>
                <a:cubicBezTo>
                  <a:pt x="394" y="121"/>
                  <a:pt x="397" y="120"/>
                  <a:pt x="401" y="121"/>
                </a:cubicBezTo>
                <a:cubicBezTo>
                  <a:pt x="405" y="121"/>
                  <a:pt x="407" y="122"/>
                  <a:pt x="408" y="124"/>
                </a:cubicBezTo>
                <a:cubicBezTo>
                  <a:pt x="409" y="125"/>
                  <a:pt x="410" y="129"/>
                  <a:pt x="410" y="134"/>
                </a:cubicBezTo>
                <a:cubicBezTo>
                  <a:pt x="410" y="143"/>
                  <a:pt x="410" y="143"/>
                  <a:pt x="410" y="143"/>
                </a:cubicBezTo>
                <a:cubicBezTo>
                  <a:pt x="440" y="143"/>
                  <a:pt x="440" y="143"/>
                  <a:pt x="440" y="143"/>
                </a:cubicBezTo>
                <a:cubicBezTo>
                  <a:pt x="440" y="133"/>
                  <a:pt x="440" y="133"/>
                  <a:pt x="440" y="133"/>
                </a:cubicBezTo>
                <a:cubicBezTo>
                  <a:pt x="440" y="121"/>
                  <a:pt x="439" y="113"/>
                  <a:pt x="437" y="108"/>
                </a:cubicBezTo>
                <a:cubicBezTo>
                  <a:pt x="434" y="102"/>
                  <a:pt x="430" y="98"/>
                  <a:pt x="424" y="96"/>
                </a:cubicBezTo>
                <a:cubicBezTo>
                  <a:pt x="418" y="93"/>
                  <a:pt x="411" y="92"/>
                  <a:pt x="403" y="92"/>
                </a:cubicBezTo>
                <a:cubicBezTo>
                  <a:pt x="396" y="92"/>
                  <a:pt x="391" y="92"/>
                  <a:pt x="386" y="93"/>
                </a:cubicBezTo>
                <a:cubicBezTo>
                  <a:pt x="393" y="104"/>
                  <a:pt x="393" y="104"/>
                  <a:pt x="393" y="104"/>
                </a:cubicBezTo>
                <a:cubicBezTo>
                  <a:pt x="364" y="125"/>
                  <a:pt x="364" y="125"/>
                  <a:pt x="364" y="125"/>
                </a:cubicBezTo>
                <a:cubicBezTo>
                  <a:pt x="375" y="143"/>
                  <a:pt x="375" y="143"/>
                  <a:pt x="375" y="143"/>
                </a:cubicBezTo>
                <a:cubicBezTo>
                  <a:pt x="360" y="153"/>
                  <a:pt x="360" y="153"/>
                  <a:pt x="360" y="153"/>
                </a:cubicBezTo>
                <a:cubicBezTo>
                  <a:pt x="371" y="168"/>
                  <a:pt x="371" y="168"/>
                  <a:pt x="371" y="168"/>
                </a:cubicBezTo>
                <a:cubicBezTo>
                  <a:pt x="360" y="183"/>
                  <a:pt x="360" y="183"/>
                  <a:pt x="360" y="183"/>
                </a:cubicBezTo>
                <a:cubicBezTo>
                  <a:pt x="360" y="196"/>
                  <a:pt x="360" y="196"/>
                  <a:pt x="360" y="196"/>
                </a:cubicBezTo>
                <a:lnTo>
                  <a:pt x="372" y="186"/>
                </a:lnTo>
                <a:close/>
                <a:moveTo>
                  <a:pt x="497" y="252"/>
                </a:moveTo>
                <a:cubicBezTo>
                  <a:pt x="516" y="252"/>
                  <a:pt x="529" y="247"/>
                  <a:pt x="534" y="237"/>
                </a:cubicBezTo>
                <a:cubicBezTo>
                  <a:pt x="537" y="233"/>
                  <a:pt x="538" y="229"/>
                  <a:pt x="539" y="225"/>
                </a:cubicBezTo>
                <a:cubicBezTo>
                  <a:pt x="539" y="222"/>
                  <a:pt x="540" y="215"/>
                  <a:pt x="540" y="205"/>
                </a:cubicBezTo>
                <a:cubicBezTo>
                  <a:pt x="540" y="139"/>
                  <a:pt x="540" y="139"/>
                  <a:pt x="540" y="139"/>
                </a:cubicBezTo>
                <a:cubicBezTo>
                  <a:pt x="540" y="130"/>
                  <a:pt x="539" y="122"/>
                  <a:pt x="538" y="118"/>
                </a:cubicBezTo>
                <a:cubicBezTo>
                  <a:pt x="538" y="114"/>
                  <a:pt x="536" y="110"/>
                  <a:pt x="534" y="106"/>
                </a:cubicBezTo>
                <a:cubicBezTo>
                  <a:pt x="529" y="96"/>
                  <a:pt x="517" y="91"/>
                  <a:pt x="501" y="91"/>
                </a:cubicBezTo>
                <a:cubicBezTo>
                  <a:pt x="473" y="91"/>
                  <a:pt x="459" y="104"/>
                  <a:pt x="459" y="129"/>
                </a:cubicBezTo>
                <a:cubicBezTo>
                  <a:pt x="459" y="204"/>
                  <a:pt x="459" y="204"/>
                  <a:pt x="459" y="204"/>
                </a:cubicBezTo>
                <a:cubicBezTo>
                  <a:pt x="459" y="217"/>
                  <a:pt x="459" y="217"/>
                  <a:pt x="459" y="217"/>
                </a:cubicBezTo>
                <a:cubicBezTo>
                  <a:pt x="459" y="240"/>
                  <a:pt x="472" y="252"/>
                  <a:pt x="497" y="252"/>
                </a:cubicBezTo>
                <a:close/>
                <a:moveTo>
                  <a:pt x="489" y="133"/>
                </a:moveTo>
                <a:cubicBezTo>
                  <a:pt x="489" y="125"/>
                  <a:pt x="492" y="121"/>
                  <a:pt x="499" y="121"/>
                </a:cubicBezTo>
                <a:cubicBezTo>
                  <a:pt x="503" y="121"/>
                  <a:pt x="505" y="122"/>
                  <a:pt x="507" y="124"/>
                </a:cubicBezTo>
                <a:cubicBezTo>
                  <a:pt x="508" y="125"/>
                  <a:pt x="509" y="129"/>
                  <a:pt x="509" y="133"/>
                </a:cubicBezTo>
                <a:cubicBezTo>
                  <a:pt x="509" y="211"/>
                  <a:pt x="509" y="211"/>
                  <a:pt x="509" y="211"/>
                </a:cubicBezTo>
                <a:cubicBezTo>
                  <a:pt x="509" y="219"/>
                  <a:pt x="506" y="223"/>
                  <a:pt x="499" y="223"/>
                </a:cubicBezTo>
                <a:cubicBezTo>
                  <a:pt x="495" y="223"/>
                  <a:pt x="493" y="222"/>
                  <a:pt x="491" y="220"/>
                </a:cubicBezTo>
                <a:cubicBezTo>
                  <a:pt x="490" y="217"/>
                  <a:pt x="489" y="213"/>
                  <a:pt x="489" y="206"/>
                </a:cubicBezTo>
                <a:lnTo>
                  <a:pt x="489" y="133"/>
                </a:lnTo>
                <a:close/>
                <a:moveTo>
                  <a:pt x="642" y="94"/>
                </a:moveTo>
                <a:cubicBezTo>
                  <a:pt x="615" y="94"/>
                  <a:pt x="615" y="94"/>
                  <a:pt x="615" y="94"/>
                </a:cubicBezTo>
                <a:cubicBezTo>
                  <a:pt x="615" y="176"/>
                  <a:pt x="615" y="176"/>
                  <a:pt x="615" y="176"/>
                </a:cubicBezTo>
                <a:cubicBezTo>
                  <a:pt x="587" y="94"/>
                  <a:pt x="587" y="94"/>
                  <a:pt x="587" y="94"/>
                </a:cubicBezTo>
                <a:cubicBezTo>
                  <a:pt x="560" y="94"/>
                  <a:pt x="560" y="94"/>
                  <a:pt x="560" y="94"/>
                </a:cubicBezTo>
                <a:cubicBezTo>
                  <a:pt x="560" y="250"/>
                  <a:pt x="560" y="250"/>
                  <a:pt x="560" y="250"/>
                </a:cubicBezTo>
                <a:cubicBezTo>
                  <a:pt x="587" y="250"/>
                  <a:pt x="587" y="250"/>
                  <a:pt x="587" y="250"/>
                </a:cubicBezTo>
                <a:cubicBezTo>
                  <a:pt x="587" y="167"/>
                  <a:pt x="587" y="167"/>
                  <a:pt x="587" y="167"/>
                </a:cubicBezTo>
                <a:cubicBezTo>
                  <a:pt x="616" y="250"/>
                  <a:pt x="616" y="250"/>
                  <a:pt x="616" y="250"/>
                </a:cubicBezTo>
                <a:cubicBezTo>
                  <a:pt x="642" y="250"/>
                  <a:pt x="642" y="250"/>
                  <a:pt x="642" y="250"/>
                </a:cubicBezTo>
                <a:lnTo>
                  <a:pt x="642" y="94"/>
                </a:lnTo>
                <a:close/>
                <a:moveTo>
                  <a:pt x="689" y="167"/>
                </a:moveTo>
                <a:cubicBezTo>
                  <a:pt x="718" y="250"/>
                  <a:pt x="718" y="250"/>
                  <a:pt x="718" y="250"/>
                </a:cubicBezTo>
                <a:cubicBezTo>
                  <a:pt x="745" y="250"/>
                  <a:pt x="745" y="250"/>
                  <a:pt x="745" y="250"/>
                </a:cubicBezTo>
                <a:cubicBezTo>
                  <a:pt x="745" y="94"/>
                  <a:pt x="745" y="94"/>
                  <a:pt x="745" y="94"/>
                </a:cubicBezTo>
                <a:cubicBezTo>
                  <a:pt x="717" y="94"/>
                  <a:pt x="717" y="94"/>
                  <a:pt x="717" y="94"/>
                </a:cubicBezTo>
                <a:cubicBezTo>
                  <a:pt x="717" y="176"/>
                  <a:pt x="717" y="176"/>
                  <a:pt x="717" y="176"/>
                </a:cubicBezTo>
                <a:cubicBezTo>
                  <a:pt x="690" y="94"/>
                  <a:pt x="690" y="94"/>
                  <a:pt x="690" y="94"/>
                </a:cubicBezTo>
                <a:cubicBezTo>
                  <a:pt x="662" y="94"/>
                  <a:pt x="662" y="94"/>
                  <a:pt x="662" y="94"/>
                </a:cubicBezTo>
                <a:cubicBezTo>
                  <a:pt x="662" y="250"/>
                  <a:pt x="662" y="250"/>
                  <a:pt x="662" y="250"/>
                </a:cubicBezTo>
                <a:cubicBezTo>
                  <a:pt x="689" y="250"/>
                  <a:pt x="689" y="250"/>
                  <a:pt x="689" y="250"/>
                </a:cubicBezTo>
                <a:lnTo>
                  <a:pt x="689" y="167"/>
                </a:lnTo>
                <a:close/>
                <a:moveTo>
                  <a:pt x="829" y="221"/>
                </a:moveTo>
                <a:cubicBezTo>
                  <a:pt x="796" y="221"/>
                  <a:pt x="796" y="221"/>
                  <a:pt x="796" y="221"/>
                </a:cubicBezTo>
                <a:cubicBezTo>
                  <a:pt x="796" y="180"/>
                  <a:pt x="796" y="180"/>
                  <a:pt x="796" y="180"/>
                </a:cubicBezTo>
                <a:cubicBezTo>
                  <a:pt x="829" y="180"/>
                  <a:pt x="829" y="180"/>
                  <a:pt x="829" y="180"/>
                </a:cubicBezTo>
                <a:cubicBezTo>
                  <a:pt x="829" y="151"/>
                  <a:pt x="829" y="151"/>
                  <a:pt x="829" y="151"/>
                </a:cubicBezTo>
                <a:cubicBezTo>
                  <a:pt x="796" y="151"/>
                  <a:pt x="796" y="151"/>
                  <a:pt x="796" y="151"/>
                </a:cubicBezTo>
                <a:cubicBezTo>
                  <a:pt x="796" y="123"/>
                  <a:pt x="796" y="123"/>
                  <a:pt x="796" y="123"/>
                </a:cubicBezTo>
                <a:cubicBezTo>
                  <a:pt x="829" y="123"/>
                  <a:pt x="829" y="123"/>
                  <a:pt x="829" y="123"/>
                </a:cubicBezTo>
                <a:cubicBezTo>
                  <a:pt x="829" y="94"/>
                  <a:pt x="829" y="94"/>
                  <a:pt x="829" y="94"/>
                </a:cubicBezTo>
                <a:cubicBezTo>
                  <a:pt x="766" y="94"/>
                  <a:pt x="766" y="94"/>
                  <a:pt x="766" y="94"/>
                </a:cubicBezTo>
                <a:cubicBezTo>
                  <a:pt x="766" y="250"/>
                  <a:pt x="766" y="250"/>
                  <a:pt x="766" y="250"/>
                </a:cubicBezTo>
                <a:cubicBezTo>
                  <a:pt x="829" y="250"/>
                  <a:pt x="829" y="250"/>
                  <a:pt x="829" y="250"/>
                </a:cubicBezTo>
                <a:lnTo>
                  <a:pt x="829" y="221"/>
                </a:lnTo>
                <a:close/>
                <a:moveTo>
                  <a:pt x="897" y="205"/>
                </a:moveTo>
                <a:cubicBezTo>
                  <a:pt x="897" y="212"/>
                  <a:pt x="896" y="217"/>
                  <a:pt x="895" y="220"/>
                </a:cubicBezTo>
                <a:cubicBezTo>
                  <a:pt x="893" y="223"/>
                  <a:pt x="891" y="224"/>
                  <a:pt x="887" y="224"/>
                </a:cubicBezTo>
                <a:cubicBezTo>
                  <a:pt x="880" y="224"/>
                  <a:pt x="877" y="219"/>
                  <a:pt x="877" y="210"/>
                </a:cubicBezTo>
                <a:cubicBezTo>
                  <a:pt x="877" y="134"/>
                  <a:pt x="877" y="134"/>
                  <a:pt x="877" y="134"/>
                </a:cubicBezTo>
                <a:cubicBezTo>
                  <a:pt x="877" y="129"/>
                  <a:pt x="877" y="126"/>
                  <a:pt x="879" y="124"/>
                </a:cubicBezTo>
                <a:cubicBezTo>
                  <a:pt x="881" y="121"/>
                  <a:pt x="884" y="120"/>
                  <a:pt x="887" y="121"/>
                </a:cubicBezTo>
                <a:cubicBezTo>
                  <a:pt x="891" y="121"/>
                  <a:pt x="894" y="122"/>
                  <a:pt x="895" y="124"/>
                </a:cubicBezTo>
                <a:cubicBezTo>
                  <a:pt x="896" y="125"/>
                  <a:pt x="896" y="129"/>
                  <a:pt x="896" y="134"/>
                </a:cubicBezTo>
                <a:cubicBezTo>
                  <a:pt x="896" y="143"/>
                  <a:pt x="896" y="143"/>
                  <a:pt x="896" y="143"/>
                </a:cubicBezTo>
                <a:cubicBezTo>
                  <a:pt x="927" y="143"/>
                  <a:pt x="927" y="143"/>
                  <a:pt x="927" y="143"/>
                </a:cubicBezTo>
                <a:cubicBezTo>
                  <a:pt x="927" y="133"/>
                  <a:pt x="927" y="133"/>
                  <a:pt x="927" y="133"/>
                </a:cubicBezTo>
                <a:cubicBezTo>
                  <a:pt x="927" y="121"/>
                  <a:pt x="926" y="113"/>
                  <a:pt x="923" y="108"/>
                </a:cubicBezTo>
                <a:cubicBezTo>
                  <a:pt x="921" y="102"/>
                  <a:pt x="917" y="98"/>
                  <a:pt x="911" y="96"/>
                </a:cubicBezTo>
                <a:cubicBezTo>
                  <a:pt x="904" y="93"/>
                  <a:pt x="897" y="92"/>
                  <a:pt x="890" y="92"/>
                </a:cubicBezTo>
                <a:cubicBezTo>
                  <a:pt x="875" y="92"/>
                  <a:pt x="864" y="95"/>
                  <a:pt x="857" y="101"/>
                </a:cubicBezTo>
                <a:cubicBezTo>
                  <a:pt x="850" y="107"/>
                  <a:pt x="846" y="116"/>
                  <a:pt x="846" y="129"/>
                </a:cubicBezTo>
                <a:cubicBezTo>
                  <a:pt x="846" y="216"/>
                  <a:pt x="846" y="216"/>
                  <a:pt x="846" y="216"/>
                </a:cubicBezTo>
                <a:cubicBezTo>
                  <a:pt x="846" y="240"/>
                  <a:pt x="860" y="253"/>
                  <a:pt x="886" y="253"/>
                </a:cubicBezTo>
                <a:cubicBezTo>
                  <a:pt x="896" y="253"/>
                  <a:pt x="904" y="251"/>
                  <a:pt x="911" y="248"/>
                </a:cubicBezTo>
                <a:cubicBezTo>
                  <a:pt x="917" y="245"/>
                  <a:pt x="922" y="241"/>
                  <a:pt x="923" y="236"/>
                </a:cubicBezTo>
                <a:cubicBezTo>
                  <a:pt x="926" y="228"/>
                  <a:pt x="928" y="220"/>
                  <a:pt x="927" y="211"/>
                </a:cubicBezTo>
                <a:cubicBezTo>
                  <a:pt x="927" y="195"/>
                  <a:pt x="927" y="195"/>
                  <a:pt x="927" y="195"/>
                </a:cubicBezTo>
                <a:cubicBezTo>
                  <a:pt x="896" y="195"/>
                  <a:pt x="896" y="195"/>
                  <a:pt x="896" y="195"/>
                </a:cubicBezTo>
                <a:cubicBezTo>
                  <a:pt x="897" y="199"/>
                  <a:pt x="897" y="202"/>
                  <a:pt x="897" y="205"/>
                </a:cubicBezTo>
                <a:close/>
                <a:moveTo>
                  <a:pt x="939" y="124"/>
                </a:moveTo>
                <a:cubicBezTo>
                  <a:pt x="961" y="124"/>
                  <a:pt x="961" y="124"/>
                  <a:pt x="961" y="124"/>
                </a:cubicBezTo>
                <a:cubicBezTo>
                  <a:pt x="961" y="250"/>
                  <a:pt x="961" y="250"/>
                  <a:pt x="961" y="250"/>
                </a:cubicBezTo>
                <a:cubicBezTo>
                  <a:pt x="991" y="250"/>
                  <a:pt x="991" y="250"/>
                  <a:pt x="991" y="250"/>
                </a:cubicBezTo>
                <a:cubicBezTo>
                  <a:pt x="991" y="124"/>
                  <a:pt x="991" y="124"/>
                  <a:pt x="991" y="124"/>
                </a:cubicBezTo>
                <a:cubicBezTo>
                  <a:pt x="1013" y="124"/>
                  <a:pt x="1013" y="124"/>
                  <a:pt x="1013" y="124"/>
                </a:cubicBezTo>
                <a:cubicBezTo>
                  <a:pt x="1013" y="94"/>
                  <a:pt x="1013" y="94"/>
                  <a:pt x="1013" y="94"/>
                </a:cubicBezTo>
                <a:cubicBezTo>
                  <a:pt x="939" y="94"/>
                  <a:pt x="939" y="94"/>
                  <a:pt x="939" y="94"/>
                </a:cubicBezTo>
                <a:lnTo>
                  <a:pt x="939" y="124"/>
                </a:lnTo>
                <a:close/>
                <a:moveTo>
                  <a:pt x="1028" y="250"/>
                </a:moveTo>
                <a:cubicBezTo>
                  <a:pt x="1058" y="250"/>
                  <a:pt x="1058" y="250"/>
                  <a:pt x="1058" y="250"/>
                </a:cubicBezTo>
                <a:cubicBezTo>
                  <a:pt x="1058" y="94"/>
                  <a:pt x="1058" y="94"/>
                  <a:pt x="1058" y="94"/>
                </a:cubicBezTo>
                <a:cubicBezTo>
                  <a:pt x="1028" y="94"/>
                  <a:pt x="1028" y="94"/>
                  <a:pt x="1028" y="94"/>
                </a:cubicBezTo>
                <a:lnTo>
                  <a:pt x="1028" y="250"/>
                </a:lnTo>
                <a:close/>
                <a:moveTo>
                  <a:pt x="1156" y="106"/>
                </a:moveTo>
                <a:cubicBezTo>
                  <a:pt x="1151" y="96"/>
                  <a:pt x="1139" y="91"/>
                  <a:pt x="1123" y="91"/>
                </a:cubicBezTo>
                <a:cubicBezTo>
                  <a:pt x="1095" y="91"/>
                  <a:pt x="1081" y="104"/>
                  <a:pt x="1081" y="129"/>
                </a:cubicBezTo>
                <a:cubicBezTo>
                  <a:pt x="1081" y="204"/>
                  <a:pt x="1081" y="204"/>
                  <a:pt x="1081" y="204"/>
                </a:cubicBezTo>
                <a:cubicBezTo>
                  <a:pt x="1081" y="217"/>
                  <a:pt x="1081" y="217"/>
                  <a:pt x="1081" y="217"/>
                </a:cubicBezTo>
                <a:cubicBezTo>
                  <a:pt x="1081" y="240"/>
                  <a:pt x="1094" y="252"/>
                  <a:pt x="1119" y="252"/>
                </a:cubicBezTo>
                <a:cubicBezTo>
                  <a:pt x="1138" y="252"/>
                  <a:pt x="1151" y="247"/>
                  <a:pt x="1156" y="237"/>
                </a:cubicBezTo>
                <a:cubicBezTo>
                  <a:pt x="1159" y="233"/>
                  <a:pt x="1160" y="229"/>
                  <a:pt x="1161" y="225"/>
                </a:cubicBezTo>
                <a:cubicBezTo>
                  <a:pt x="1161" y="222"/>
                  <a:pt x="1162" y="215"/>
                  <a:pt x="1162" y="205"/>
                </a:cubicBezTo>
                <a:cubicBezTo>
                  <a:pt x="1162" y="139"/>
                  <a:pt x="1162" y="139"/>
                  <a:pt x="1162" y="139"/>
                </a:cubicBezTo>
                <a:cubicBezTo>
                  <a:pt x="1162" y="130"/>
                  <a:pt x="1161" y="122"/>
                  <a:pt x="1160" y="118"/>
                </a:cubicBezTo>
                <a:cubicBezTo>
                  <a:pt x="1160" y="114"/>
                  <a:pt x="1158" y="110"/>
                  <a:pt x="1156" y="106"/>
                </a:cubicBezTo>
                <a:close/>
                <a:moveTo>
                  <a:pt x="1131" y="211"/>
                </a:moveTo>
                <a:cubicBezTo>
                  <a:pt x="1131" y="219"/>
                  <a:pt x="1128" y="223"/>
                  <a:pt x="1121" y="223"/>
                </a:cubicBezTo>
                <a:cubicBezTo>
                  <a:pt x="1117" y="223"/>
                  <a:pt x="1115" y="222"/>
                  <a:pt x="1113" y="220"/>
                </a:cubicBezTo>
                <a:cubicBezTo>
                  <a:pt x="1112" y="217"/>
                  <a:pt x="1111" y="213"/>
                  <a:pt x="1111" y="206"/>
                </a:cubicBezTo>
                <a:cubicBezTo>
                  <a:pt x="1111" y="133"/>
                  <a:pt x="1111" y="133"/>
                  <a:pt x="1111" y="133"/>
                </a:cubicBezTo>
                <a:cubicBezTo>
                  <a:pt x="1111" y="125"/>
                  <a:pt x="1114" y="121"/>
                  <a:pt x="1121" y="121"/>
                </a:cubicBezTo>
                <a:cubicBezTo>
                  <a:pt x="1125" y="121"/>
                  <a:pt x="1127" y="122"/>
                  <a:pt x="1129" y="124"/>
                </a:cubicBezTo>
                <a:cubicBezTo>
                  <a:pt x="1130" y="125"/>
                  <a:pt x="1131" y="129"/>
                  <a:pt x="1131" y="133"/>
                </a:cubicBezTo>
                <a:lnTo>
                  <a:pt x="1131" y="211"/>
                </a:lnTo>
                <a:close/>
                <a:moveTo>
                  <a:pt x="1222" y="334"/>
                </a:moveTo>
                <a:cubicBezTo>
                  <a:pt x="1208" y="278"/>
                  <a:pt x="1208" y="278"/>
                  <a:pt x="1208" y="278"/>
                </a:cubicBezTo>
                <a:cubicBezTo>
                  <a:pt x="1178" y="278"/>
                  <a:pt x="1178" y="278"/>
                  <a:pt x="1178" y="278"/>
                </a:cubicBezTo>
                <a:cubicBezTo>
                  <a:pt x="1206" y="374"/>
                  <a:pt x="1206" y="374"/>
                  <a:pt x="1206" y="374"/>
                </a:cubicBezTo>
                <a:cubicBezTo>
                  <a:pt x="1206" y="434"/>
                  <a:pt x="1206" y="434"/>
                  <a:pt x="1206" y="434"/>
                </a:cubicBezTo>
                <a:cubicBezTo>
                  <a:pt x="1237" y="434"/>
                  <a:pt x="1237" y="434"/>
                  <a:pt x="1237" y="434"/>
                </a:cubicBezTo>
                <a:cubicBezTo>
                  <a:pt x="1237" y="375"/>
                  <a:pt x="1237" y="375"/>
                  <a:pt x="1237" y="375"/>
                </a:cubicBezTo>
                <a:cubicBezTo>
                  <a:pt x="1266" y="278"/>
                  <a:pt x="1266" y="278"/>
                  <a:pt x="1266" y="278"/>
                </a:cubicBezTo>
                <a:cubicBezTo>
                  <a:pt x="1236" y="278"/>
                  <a:pt x="1236" y="278"/>
                  <a:pt x="1236" y="278"/>
                </a:cubicBezTo>
                <a:lnTo>
                  <a:pt x="1222" y="334"/>
                </a:lnTo>
                <a:close/>
                <a:moveTo>
                  <a:pt x="693" y="344"/>
                </a:moveTo>
                <a:cubicBezTo>
                  <a:pt x="690" y="362"/>
                  <a:pt x="690" y="362"/>
                  <a:pt x="690" y="362"/>
                </a:cubicBezTo>
                <a:cubicBezTo>
                  <a:pt x="717" y="362"/>
                  <a:pt x="717" y="362"/>
                  <a:pt x="717" y="362"/>
                </a:cubicBezTo>
                <a:lnTo>
                  <a:pt x="693" y="344"/>
                </a:lnTo>
                <a:close/>
                <a:moveTo>
                  <a:pt x="661" y="281"/>
                </a:moveTo>
                <a:cubicBezTo>
                  <a:pt x="661" y="296"/>
                  <a:pt x="661" y="296"/>
                  <a:pt x="661" y="296"/>
                </a:cubicBezTo>
                <a:cubicBezTo>
                  <a:pt x="687" y="304"/>
                  <a:pt x="687" y="304"/>
                  <a:pt x="687" y="304"/>
                </a:cubicBezTo>
                <a:lnTo>
                  <a:pt x="661" y="281"/>
                </a:lnTo>
                <a:close/>
                <a:moveTo>
                  <a:pt x="764" y="344"/>
                </a:moveTo>
                <a:cubicBezTo>
                  <a:pt x="764" y="341"/>
                  <a:pt x="764" y="341"/>
                  <a:pt x="764" y="341"/>
                </a:cubicBezTo>
                <a:cubicBezTo>
                  <a:pt x="759" y="338"/>
                  <a:pt x="759" y="338"/>
                  <a:pt x="759" y="338"/>
                </a:cubicBezTo>
                <a:lnTo>
                  <a:pt x="764" y="344"/>
                </a:lnTo>
                <a:close/>
                <a:moveTo>
                  <a:pt x="764" y="294"/>
                </a:moveTo>
                <a:cubicBezTo>
                  <a:pt x="750" y="326"/>
                  <a:pt x="750" y="326"/>
                  <a:pt x="750" y="326"/>
                </a:cubicBezTo>
                <a:cubicBezTo>
                  <a:pt x="768" y="316"/>
                  <a:pt x="804" y="300"/>
                  <a:pt x="804" y="300"/>
                </a:cubicBezTo>
                <a:lnTo>
                  <a:pt x="764" y="294"/>
                </a:lnTo>
                <a:close/>
                <a:moveTo>
                  <a:pt x="740" y="332"/>
                </a:moveTo>
                <a:cubicBezTo>
                  <a:pt x="740" y="333"/>
                  <a:pt x="743" y="332"/>
                  <a:pt x="748" y="330"/>
                </a:cubicBezTo>
                <a:cubicBezTo>
                  <a:pt x="750" y="326"/>
                  <a:pt x="750" y="326"/>
                  <a:pt x="750" y="326"/>
                </a:cubicBezTo>
                <a:cubicBezTo>
                  <a:pt x="744" y="329"/>
                  <a:pt x="740" y="331"/>
                  <a:pt x="740" y="332"/>
                </a:cubicBezTo>
                <a:close/>
                <a:moveTo>
                  <a:pt x="824" y="321"/>
                </a:moveTo>
                <a:cubicBezTo>
                  <a:pt x="801" y="325"/>
                  <a:pt x="801" y="325"/>
                  <a:pt x="801" y="325"/>
                </a:cubicBezTo>
                <a:cubicBezTo>
                  <a:pt x="797" y="342"/>
                  <a:pt x="797" y="342"/>
                  <a:pt x="797" y="342"/>
                </a:cubicBezTo>
                <a:lnTo>
                  <a:pt x="824" y="321"/>
                </a:lnTo>
                <a:close/>
                <a:moveTo>
                  <a:pt x="829" y="373"/>
                </a:moveTo>
                <a:cubicBezTo>
                  <a:pt x="795" y="385"/>
                  <a:pt x="795" y="385"/>
                  <a:pt x="795" y="385"/>
                </a:cubicBezTo>
                <a:cubicBezTo>
                  <a:pt x="803" y="395"/>
                  <a:pt x="803" y="395"/>
                  <a:pt x="803" y="395"/>
                </a:cubicBezTo>
                <a:cubicBezTo>
                  <a:pt x="778" y="418"/>
                  <a:pt x="778" y="418"/>
                  <a:pt x="778" y="418"/>
                </a:cubicBezTo>
                <a:cubicBezTo>
                  <a:pt x="807" y="430"/>
                  <a:pt x="807" y="430"/>
                  <a:pt x="807" y="430"/>
                </a:cubicBezTo>
                <a:lnTo>
                  <a:pt x="829" y="373"/>
                </a:lnTo>
                <a:close/>
                <a:moveTo>
                  <a:pt x="786" y="373"/>
                </a:moveTo>
                <a:cubicBezTo>
                  <a:pt x="819" y="367"/>
                  <a:pt x="819" y="367"/>
                  <a:pt x="819" y="367"/>
                </a:cubicBezTo>
                <a:cubicBezTo>
                  <a:pt x="764" y="341"/>
                  <a:pt x="764" y="341"/>
                  <a:pt x="764" y="341"/>
                </a:cubicBezTo>
                <a:cubicBezTo>
                  <a:pt x="764" y="344"/>
                  <a:pt x="764" y="344"/>
                  <a:pt x="764" y="344"/>
                </a:cubicBezTo>
                <a:lnTo>
                  <a:pt x="786" y="373"/>
                </a:lnTo>
                <a:close/>
                <a:moveTo>
                  <a:pt x="848" y="352"/>
                </a:moveTo>
                <a:cubicBezTo>
                  <a:pt x="846" y="348"/>
                  <a:pt x="846" y="348"/>
                  <a:pt x="846" y="348"/>
                </a:cubicBezTo>
                <a:cubicBezTo>
                  <a:pt x="843" y="354"/>
                  <a:pt x="843" y="354"/>
                  <a:pt x="843" y="354"/>
                </a:cubicBezTo>
                <a:cubicBezTo>
                  <a:pt x="844" y="354"/>
                  <a:pt x="846" y="353"/>
                  <a:pt x="848" y="352"/>
                </a:cubicBezTo>
                <a:close/>
                <a:moveTo>
                  <a:pt x="892" y="336"/>
                </a:moveTo>
                <a:cubicBezTo>
                  <a:pt x="885" y="348"/>
                  <a:pt x="885" y="348"/>
                  <a:pt x="885" y="348"/>
                </a:cubicBezTo>
                <a:cubicBezTo>
                  <a:pt x="892" y="349"/>
                  <a:pt x="899" y="349"/>
                  <a:pt x="905" y="350"/>
                </a:cubicBezTo>
                <a:cubicBezTo>
                  <a:pt x="895" y="334"/>
                  <a:pt x="895" y="334"/>
                  <a:pt x="895" y="334"/>
                </a:cubicBezTo>
                <a:lnTo>
                  <a:pt x="892" y="336"/>
                </a:lnTo>
                <a:close/>
                <a:moveTo>
                  <a:pt x="865" y="337"/>
                </a:moveTo>
                <a:cubicBezTo>
                  <a:pt x="863" y="347"/>
                  <a:pt x="863" y="347"/>
                  <a:pt x="863" y="347"/>
                </a:cubicBezTo>
                <a:cubicBezTo>
                  <a:pt x="877" y="339"/>
                  <a:pt x="877" y="339"/>
                  <a:pt x="877" y="339"/>
                </a:cubicBezTo>
                <a:cubicBezTo>
                  <a:pt x="873" y="338"/>
                  <a:pt x="869" y="338"/>
                  <a:pt x="865" y="337"/>
                </a:cubicBezTo>
                <a:close/>
                <a:moveTo>
                  <a:pt x="812" y="306"/>
                </a:moveTo>
                <a:cubicBezTo>
                  <a:pt x="812" y="309"/>
                  <a:pt x="811" y="312"/>
                  <a:pt x="811" y="316"/>
                </a:cubicBezTo>
                <a:cubicBezTo>
                  <a:pt x="811" y="318"/>
                  <a:pt x="811" y="318"/>
                  <a:pt x="811" y="318"/>
                </a:cubicBezTo>
                <a:cubicBezTo>
                  <a:pt x="831" y="303"/>
                  <a:pt x="831" y="303"/>
                  <a:pt x="831" y="303"/>
                </a:cubicBezTo>
                <a:lnTo>
                  <a:pt x="812" y="306"/>
                </a:lnTo>
                <a:close/>
                <a:moveTo>
                  <a:pt x="812" y="306"/>
                </a:moveTo>
                <a:cubicBezTo>
                  <a:pt x="807" y="307"/>
                  <a:pt x="807" y="307"/>
                  <a:pt x="807" y="307"/>
                </a:cubicBezTo>
                <a:cubicBezTo>
                  <a:pt x="804" y="324"/>
                  <a:pt x="804" y="324"/>
                  <a:pt x="804" y="324"/>
                </a:cubicBezTo>
                <a:cubicBezTo>
                  <a:pt x="811" y="318"/>
                  <a:pt x="811" y="318"/>
                  <a:pt x="811" y="318"/>
                </a:cubicBezTo>
                <a:cubicBezTo>
                  <a:pt x="811" y="316"/>
                  <a:pt x="811" y="316"/>
                  <a:pt x="811" y="316"/>
                </a:cubicBezTo>
                <a:cubicBezTo>
                  <a:pt x="811" y="312"/>
                  <a:pt x="812" y="309"/>
                  <a:pt x="812" y="306"/>
                </a:cubicBezTo>
                <a:close/>
                <a:moveTo>
                  <a:pt x="892" y="357"/>
                </a:moveTo>
                <a:cubicBezTo>
                  <a:pt x="854" y="357"/>
                  <a:pt x="854" y="357"/>
                  <a:pt x="854" y="357"/>
                </a:cubicBezTo>
                <a:cubicBezTo>
                  <a:pt x="854" y="382"/>
                  <a:pt x="854" y="382"/>
                  <a:pt x="854" y="382"/>
                </a:cubicBezTo>
                <a:cubicBezTo>
                  <a:pt x="861" y="382"/>
                  <a:pt x="861" y="382"/>
                  <a:pt x="861" y="382"/>
                </a:cubicBezTo>
                <a:cubicBezTo>
                  <a:pt x="861" y="383"/>
                  <a:pt x="861" y="383"/>
                  <a:pt x="861" y="383"/>
                </a:cubicBezTo>
                <a:cubicBezTo>
                  <a:pt x="862" y="386"/>
                  <a:pt x="862" y="386"/>
                  <a:pt x="862" y="386"/>
                </a:cubicBezTo>
                <a:cubicBezTo>
                  <a:pt x="862" y="386"/>
                  <a:pt x="862" y="387"/>
                  <a:pt x="862" y="388"/>
                </a:cubicBezTo>
                <a:cubicBezTo>
                  <a:pt x="862" y="388"/>
                  <a:pt x="862" y="389"/>
                  <a:pt x="862" y="389"/>
                </a:cubicBezTo>
                <a:cubicBezTo>
                  <a:pt x="862" y="389"/>
                  <a:pt x="862" y="389"/>
                  <a:pt x="862" y="389"/>
                </a:cubicBezTo>
                <a:cubicBezTo>
                  <a:pt x="862" y="394"/>
                  <a:pt x="862" y="394"/>
                  <a:pt x="862" y="394"/>
                </a:cubicBezTo>
                <a:cubicBezTo>
                  <a:pt x="861" y="399"/>
                  <a:pt x="861" y="403"/>
                  <a:pt x="859" y="405"/>
                </a:cubicBezTo>
                <a:cubicBezTo>
                  <a:pt x="858" y="407"/>
                  <a:pt x="855" y="408"/>
                  <a:pt x="852" y="408"/>
                </a:cubicBezTo>
                <a:cubicBezTo>
                  <a:pt x="848" y="408"/>
                  <a:pt x="846" y="407"/>
                  <a:pt x="844" y="404"/>
                </a:cubicBezTo>
                <a:cubicBezTo>
                  <a:pt x="842" y="402"/>
                  <a:pt x="842" y="398"/>
                  <a:pt x="842" y="392"/>
                </a:cubicBezTo>
                <a:cubicBezTo>
                  <a:pt x="842" y="321"/>
                  <a:pt x="842" y="321"/>
                  <a:pt x="842" y="321"/>
                </a:cubicBezTo>
                <a:cubicBezTo>
                  <a:pt x="841" y="317"/>
                  <a:pt x="841" y="317"/>
                  <a:pt x="841" y="317"/>
                </a:cubicBezTo>
                <a:cubicBezTo>
                  <a:pt x="841" y="309"/>
                  <a:pt x="845" y="305"/>
                  <a:pt x="851" y="305"/>
                </a:cubicBezTo>
                <a:cubicBezTo>
                  <a:pt x="858" y="305"/>
                  <a:pt x="861" y="308"/>
                  <a:pt x="861" y="315"/>
                </a:cubicBezTo>
                <a:cubicBezTo>
                  <a:pt x="861" y="328"/>
                  <a:pt x="861" y="328"/>
                  <a:pt x="861" y="328"/>
                </a:cubicBezTo>
                <a:cubicBezTo>
                  <a:pt x="892" y="328"/>
                  <a:pt x="892" y="328"/>
                  <a:pt x="892" y="328"/>
                </a:cubicBezTo>
                <a:cubicBezTo>
                  <a:pt x="892" y="318"/>
                  <a:pt x="892" y="318"/>
                  <a:pt x="892" y="318"/>
                </a:cubicBezTo>
                <a:cubicBezTo>
                  <a:pt x="892" y="307"/>
                  <a:pt x="890" y="298"/>
                  <a:pt x="888" y="293"/>
                </a:cubicBezTo>
                <a:cubicBezTo>
                  <a:pt x="886" y="287"/>
                  <a:pt x="881" y="283"/>
                  <a:pt x="875" y="280"/>
                </a:cubicBezTo>
                <a:cubicBezTo>
                  <a:pt x="868" y="277"/>
                  <a:pt x="860" y="276"/>
                  <a:pt x="853" y="276"/>
                </a:cubicBezTo>
                <a:cubicBezTo>
                  <a:pt x="838" y="276"/>
                  <a:pt x="828" y="279"/>
                  <a:pt x="821" y="285"/>
                </a:cubicBezTo>
                <a:cubicBezTo>
                  <a:pt x="816" y="290"/>
                  <a:pt x="813" y="297"/>
                  <a:pt x="812" y="306"/>
                </a:cubicBezTo>
                <a:cubicBezTo>
                  <a:pt x="831" y="303"/>
                  <a:pt x="831" y="303"/>
                  <a:pt x="831" y="303"/>
                </a:cubicBezTo>
                <a:cubicBezTo>
                  <a:pt x="811" y="318"/>
                  <a:pt x="811" y="318"/>
                  <a:pt x="811" y="318"/>
                </a:cubicBezTo>
                <a:cubicBezTo>
                  <a:pt x="811" y="343"/>
                  <a:pt x="811" y="343"/>
                  <a:pt x="811" y="343"/>
                </a:cubicBezTo>
                <a:cubicBezTo>
                  <a:pt x="825" y="350"/>
                  <a:pt x="825" y="350"/>
                  <a:pt x="825" y="350"/>
                </a:cubicBezTo>
                <a:cubicBezTo>
                  <a:pt x="811" y="352"/>
                  <a:pt x="811" y="352"/>
                  <a:pt x="811" y="352"/>
                </a:cubicBezTo>
                <a:cubicBezTo>
                  <a:pt x="811" y="363"/>
                  <a:pt x="811" y="363"/>
                  <a:pt x="811" y="363"/>
                </a:cubicBezTo>
                <a:cubicBezTo>
                  <a:pt x="835" y="355"/>
                  <a:pt x="835" y="355"/>
                  <a:pt x="835" y="355"/>
                </a:cubicBezTo>
                <a:cubicBezTo>
                  <a:pt x="814" y="412"/>
                  <a:pt x="814" y="412"/>
                  <a:pt x="814" y="412"/>
                </a:cubicBezTo>
                <a:cubicBezTo>
                  <a:pt x="813" y="412"/>
                  <a:pt x="813" y="412"/>
                  <a:pt x="813" y="412"/>
                </a:cubicBezTo>
                <a:cubicBezTo>
                  <a:pt x="814" y="417"/>
                  <a:pt x="816" y="420"/>
                  <a:pt x="818" y="423"/>
                </a:cubicBezTo>
                <a:cubicBezTo>
                  <a:pt x="824" y="432"/>
                  <a:pt x="835" y="437"/>
                  <a:pt x="851" y="437"/>
                </a:cubicBezTo>
                <a:cubicBezTo>
                  <a:pt x="859" y="437"/>
                  <a:pt x="866" y="436"/>
                  <a:pt x="872" y="433"/>
                </a:cubicBezTo>
                <a:cubicBezTo>
                  <a:pt x="878" y="431"/>
                  <a:pt x="883" y="427"/>
                  <a:pt x="886" y="423"/>
                </a:cubicBezTo>
                <a:cubicBezTo>
                  <a:pt x="890" y="418"/>
                  <a:pt x="892" y="409"/>
                  <a:pt x="892" y="397"/>
                </a:cubicBezTo>
                <a:lnTo>
                  <a:pt x="892" y="357"/>
                </a:lnTo>
                <a:close/>
                <a:moveTo>
                  <a:pt x="911" y="278"/>
                </a:moveTo>
                <a:cubicBezTo>
                  <a:pt x="911" y="434"/>
                  <a:pt x="911" y="434"/>
                  <a:pt x="911" y="434"/>
                </a:cubicBezTo>
                <a:cubicBezTo>
                  <a:pt x="965" y="434"/>
                  <a:pt x="965" y="434"/>
                  <a:pt x="965" y="434"/>
                </a:cubicBezTo>
                <a:cubicBezTo>
                  <a:pt x="965" y="405"/>
                  <a:pt x="965" y="405"/>
                  <a:pt x="965" y="405"/>
                </a:cubicBezTo>
                <a:cubicBezTo>
                  <a:pt x="942" y="405"/>
                  <a:pt x="942" y="405"/>
                  <a:pt x="942" y="405"/>
                </a:cubicBezTo>
                <a:cubicBezTo>
                  <a:pt x="942" y="278"/>
                  <a:pt x="942" y="278"/>
                  <a:pt x="942" y="278"/>
                </a:cubicBezTo>
                <a:lnTo>
                  <a:pt x="911" y="278"/>
                </a:lnTo>
                <a:close/>
                <a:moveTo>
                  <a:pt x="1056" y="290"/>
                </a:moveTo>
                <a:cubicBezTo>
                  <a:pt x="1051" y="280"/>
                  <a:pt x="1040" y="276"/>
                  <a:pt x="1023" y="276"/>
                </a:cubicBezTo>
                <a:cubicBezTo>
                  <a:pt x="995" y="276"/>
                  <a:pt x="981" y="288"/>
                  <a:pt x="981" y="313"/>
                </a:cubicBezTo>
                <a:cubicBezTo>
                  <a:pt x="981" y="388"/>
                  <a:pt x="981" y="388"/>
                  <a:pt x="981" y="388"/>
                </a:cubicBezTo>
                <a:cubicBezTo>
                  <a:pt x="981" y="401"/>
                  <a:pt x="981" y="401"/>
                  <a:pt x="981" y="401"/>
                </a:cubicBezTo>
                <a:cubicBezTo>
                  <a:pt x="982" y="425"/>
                  <a:pt x="994" y="436"/>
                  <a:pt x="1019" y="436"/>
                </a:cubicBezTo>
                <a:cubicBezTo>
                  <a:pt x="1038" y="436"/>
                  <a:pt x="1051" y="431"/>
                  <a:pt x="1057" y="421"/>
                </a:cubicBezTo>
                <a:cubicBezTo>
                  <a:pt x="1059" y="417"/>
                  <a:pt x="1060" y="413"/>
                  <a:pt x="1061" y="410"/>
                </a:cubicBezTo>
                <a:cubicBezTo>
                  <a:pt x="1061" y="406"/>
                  <a:pt x="1062" y="399"/>
                  <a:pt x="1062" y="389"/>
                </a:cubicBezTo>
                <a:cubicBezTo>
                  <a:pt x="1062" y="323"/>
                  <a:pt x="1062" y="323"/>
                  <a:pt x="1062" y="323"/>
                </a:cubicBezTo>
                <a:cubicBezTo>
                  <a:pt x="1062" y="314"/>
                  <a:pt x="1061" y="307"/>
                  <a:pt x="1061" y="302"/>
                </a:cubicBezTo>
                <a:cubicBezTo>
                  <a:pt x="1060" y="298"/>
                  <a:pt x="1058" y="294"/>
                  <a:pt x="1056" y="290"/>
                </a:cubicBezTo>
                <a:close/>
                <a:moveTo>
                  <a:pt x="1031" y="395"/>
                </a:moveTo>
                <a:cubicBezTo>
                  <a:pt x="1031" y="403"/>
                  <a:pt x="1028" y="408"/>
                  <a:pt x="1021" y="408"/>
                </a:cubicBezTo>
                <a:cubicBezTo>
                  <a:pt x="1017" y="408"/>
                  <a:pt x="1015" y="406"/>
                  <a:pt x="1013" y="404"/>
                </a:cubicBezTo>
                <a:cubicBezTo>
                  <a:pt x="1012" y="402"/>
                  <a:pt x="1011" y="397"/>
                  <a:pt x="1011" y="390"/>
                </a:cubicBezTo>
                <a:cubicBezTo>
                  <a:pt x="1011" y="317"/>
                  <a:pt x="1011" y="317"/>
                  <a:pt x="1011" y="317"/>
                </a:cubicBezTo>
                <a:cubicBezTo>
                  <a:pt x="1011" y="309"/>
                  <a:pt x="1014" y="305"/>
                  <a:pt x="1021" y="305"/>
                </a:cubicBezTo>
                <a:cubicBezTo>
                  <a:pt x="1025" y="305"/>
                  <a:pt x="1027" y="306"/>
                  <a:pt x="1029" y="308"/>
                </a:cubicBezTo>
                <a:cubicBezTo>
                  <a:pt x="1030" y="310"/>
                  <a:pt x="1031" y="313"/>
                  <a:pt x="1031" y="318"/>
                </a:cubicBezTo>
                <a:lnTo>
                  <a:pt x="1031" y="395"/>
                </a:lnTo>
                <a:close/>
                <a:moveTo>
                  <a:pt x="1159" y="351"/>
                </a:moveTo>
                <a:cubicBezTo>
                  <a:pt x="1162" y="347"/>
                  <a:pt x="1163" y="340"/>
                  <a:pt x="1163" y="332"/>
                </a:cubicBezTo>
                <a:cubicBezTo>
                  <a:pt x="1163" y="307"/>
                  <a:pt x="1163" y="307"/>
                  <a:pt x="1163" y="307"/>
                </a:cubicBezTo>
                <a:cubicBezTo>
                  <a:pt x="1163" y="294"/>
                  <a:pt x="1160" y="286"/>
                  <a:pt x="1153" y="282"/>
                </a:cubicBezTo>
                <a:cubicBezTo>
                  <a:pt x="1148" y="280"/>
                  <a:pt x="1140" y="278"/>
                  <a:pt x="1127" y="278"/>
                </a:cubicBezTo>
                <a:cubicBezTo>
                  <a:pt x="1084" y="278"/>
                  <a:pt x="1084" y="278"/>
                  <a:pt x="1084" y="278"/>
                </a:cubicBezTo>
                <a:cubicBezTo>
                  <a:pt x="1084" y="434"/>
                  <a:pt x="1084" y="434"/>
                  <a:pt x="1084" y="434"/>
                </a:cubicBezTo>
                <a:cubicBezTo>
                  <a:pt x="1114" y="434"/>
                  <a:pt x="1114" y="434"/>
                  <a:pt x="1114" y="434"/>
                </a:cubicBezTo>
                <a:cubicBezTo>
                  <a:pt x="1114" y="363"/>
                  <a:pt x="1114" y="363"/>
                  <a:pt x="1114" y="363"/>
                </a:cubicBezTo>
                <a:cubicBezTo>
                  <a:pt x="1141" y="434"/>
                  <a:pt x="1141" y="434"/>
                  <a:pt x="1141" y="434"/>
                </a:cubicBezTo>
                <a:cubicBezTo>
                  <a:pt x="1172" y="434"/>
                  <a:pt x="1172" y="434"/>
                  <a:pt x="1172" y="434"/>
                </a:cubicBezTo>
                <a:cubicBezTo>
                  <a:pt x="1143" y="359"/>
                  <a:pt x="1143" y="359"/>
                  <a:pt x="1143" y="359"/>
                </a:cubicBezTo>
                <a:cubicBezTo>
                  <a:pt x="1150" y="358"/>
                  <a:pt x="1156" y="355"/>
                  <a:pt x="1159" y="351"/>
                </a:cubicBezTo>
                <a:close/>
                <a:moveTo>
                  <a:pt x="1134" y="323"/>
                </a:moveTo>
                <a:cubicBezTo>
                  <a:pt x="1134" y="327"/>
                  <a:pt x="1133" y="330"/>
                  <a:pt x="1131" y="332"/>
                </a:cubicBezTo>
                <a:cubicBezTo>
                  <a:pt x="1130" y="334"/>
                  <a:pt x="1127" y="334"/>
                  <a:pt x="1124" y="334"/>
                </a:cubicBezTo>
                <a:cubicBezTo>
                  <a:pt x="1114" y="334"/>
                  <a:pt x="1114" y="334"/>
                  <a:pt x="1114" y="334"/>
                </a:cubicBezTo>
                <a:cubicBezTo>
                  <a:pt x="1114" y="308"/>
                  <a:pt x="1114" y="308"/>
                  <a:pt x="1114" y="308"/>
                </a:cubicBezTo>
                <a:cubicBezTo>
                  <a:pt x="1125" y="308"/>
                  <a:pt x="1125" y="308"/>
                  <a:pt x="1125" y="308"/>
                </a:cubicBezTo>
                <a:cubicBezTo>
                  <a:pt x="1129" y="308"/>
                  <a:pt x="1131" y="308"/>
                  <a:pt x="1132" y="310"/>
                </a:cubicBezTo>
                <a:cubicBezTo>
                  <a:pt x="1133" y="312"/>
                  <a:pt x="1134" y="315"/>
                  <a:pt x="1134" y="319"/>
                </a:cubicBezTo>
                <a:lnTo>
                  <a:pt x="1134" y="323"/>
                </a:lnTo>
                <a:close/>
                <a:moveTo>
                  <a:pt x="354" y="225"/>
                </a:moveTo>
                <a:cubicBezTo>
                  <a:pt x="354" y="225"/>
                  <a:pt x="354" y="225"/>
                  <a:pt x="354" y="225"/>
                </a:cubicBezTo>
                <a:cubicBezTo>
                  <a:pt x="354" y="225"/>
                  <a:pt x="354" y="225"/>
                  <a:pt x="354" y="225"/>
                </a:cubicBezTo>
                <a:close/>
                <a:moveTo>
                  <a:pt x="348" y="199"/>
                </a:moveTo>
                <a:cubicBezTo>
                  <a:pt x="335" y="216"/>
                  <a:pt x="335" y="216"/>
                  <a:pt x="335" y="216"/>
                </a:cubicBezTo>
                <a:cubicBezTo>
                  <a:pt x="351" y="203"/>
                  <a:pt x="351" y="203"/>
                  <a:pt x="351" y="203"/>
                </a:cubicBezTo>
                <a:lnTo>
                  <a:pt x="348" y="199"/>
                </a:lnTo>
                <a:close/>
                <a:moveTo>
                  <a:pt x="324" y="272"/>
                </a:moveTo>
                <a:cubicBezTo>
                  <a:pt x="342" y="235"/>
                  <a:pt x="342" y="235"/>
                  <a:pt x="342" y="235"/>
                </a:cubicBezTo>
                <a:cubicBezTo>
                  <a:pt x="342" y="235"/>
                  <a:pt x="342" y="235"/>
                  <a:pt x="342" y="235"/>
                </a:cubicBezTo>
                <a:cubicBezTo>
                  <a:pt x="319" y="254"/>
                  <a:pt x="319" y="254"/>
                  <a:pt x="319" y="254"/>
                </a:cubicBezTo>
                <a:cubicBezTo>
                  <a:pt x="323" y="273"/>
                  <a:pt x="323" y="273"/>
                  <a:pt x="323" y="273"/>
                </a:cubicBezTo>
                <a:lnTo>
                  <a:pt x="324" y="272"/>
                </a:lnTo>
                <a:close/>
                <a:moveTo>
                  <a:pt x="1187" y="618"/>
                </a:moveTo>
                <a:cubicBezTo>
                  <a:pt x="1259" y="618"/>
                  <a:pt x="1259" y="618"/>
                  <a:pt x="1259" y="618"/>
                </a:cubicBezTo>
                <a:cubicBezTo>
                  <a:pt x="1259" y="589"/>
                  <a:pt x="1259" y="589"/>
                  <a:pt x="1259" y="589"/>
                </a:cubicBezTo>
                <a:cubicBezTo>
                  <a:pt x="1217" y="589"/>
                  <a:pt x="1217" y="589"/>
                  <a:pt x="1217" y="589"/>
                </a:cubicBezTo>
                <a:cubicBezTo>
                  <a:pt x="1217" y="549"/>
                  <a:pt x="1217" y="549"/>
                  <a:pt x="1217" y="549"/>
                </a:cubicBezTo>
                <a:cubicBezTo>
                  <a:pt x="1259" y="549"/>
                  <a:pt x="1259" y="549"/>
                  <a:pt x="1259" y="549"/>
                </a:cubicBezTo>
                <a:cubicBezTo>
                  <a:pt x="1259" y="520"/>
                  <a:pt x="1259" y="520"/>
                  <a:pt x="1259" y="520"/>
                </a:cubicBezTo>
                <a:cubicBezTo>
                  <a:pt x="1217" y="520"/>
                  <a:pt x="1217" y="520"/>
                  <a:pt x="1217" y="520"/>
                </a:cubicBezTo>
                <a:cubicBezTo>
                  <a:pt x="1217" y="491"/>
                  <a:pt x="1217" y="491"/>
                  <a:pt x="1217" y="491"/>
                </a:cubicBezTo>
                <a:cubicBezTo>
                  <a:pt x="1259" y="491"/>
                  <a:pt x="1259" y="491"/>
                  <a:pt x="1259" y="491"/>
                </a:cubicBezTo>
                <a:cubicBezTo>
                  <a:pt x="1259" y="463"/>
                  <a:pt x="1259" y="463"/>
                  <a:pt x="1259" y="463"/>
                </a:cubicBezTo>
                <a:cubicBezTo>
                  <a:pt x="1187" y="463"/>
                  <a:pt x="1187" y="463"/>
                  <a:pt x="1187" y="463"/>
                </a:cubicBezTo>
                <a:lnTo>
                  <a:pt x="1187" y="618"/>
                </a:lnTo>
                <a:close/>
                <a:moveTo>
                  <a:pt x="445" y="583"/>
                </a:moveTo>
                <a:cubicBezTo>
                  <a:pt x="445" y="583"/>
                  <a:pt x="457" y="607"/>
                  <a:pt x="458" y="605"/>
                </a:cubicBezTo>
                <a:cubicBezTo>
                  <a:pt x="459" y="604"/>
                  <a:pt x="483" y="587"/>
                  <a:pt x="483" y="587"/>
                </a:cubicBezTo>
                <a:lnTo>
                  <a:pt x="445" y="583"/>
                </a:lnTo>
                <a:close/>
                <a:moveTo>
                  <a:pt x="589" y="761"/>
                </a:moveTo>
                <a:cubicBezTo>
                  <a:pt x="624" y="753"/>
                  <a:pt x="624" y="753"/>
                  <a:pt x="624" y="753"/>
                </a:cubicBezTo>
                <a:cubicBezTo>
                  <a:pt x="602" y="744"/>
                  <a:pt x="602" y="744"/>
                  <a:pt x="602" y="744"/>
                </a:cubicBezTo>
                <a:lnTo>
                  <a:pt x="589" y="761"/>
                </a:lnTo>
                <a:close/>
                <a:moveTo>
                  <a:pt x="756" y="509"/>
                </a:moveTo>
                <a:cubicBezTo>
                  <a:pt x="777" y="505"/>
                  <a:pt x="777" y="505"/>
                  <a:pt x="777" y="505"/>
                </a:cubicBezTo>
                <a:cubicBezTo>
                  <a:pt x="764" y="499"/>
                  <a:pt x="764" y="499"/>
                  <a:pt x="764" y="499"/>
                </a:cubicBezTo>
                <a:lnTo>
                  <a:pt x="756" y="509"/>
                </a:lnTo>
                <a:close/>
                <a:moveTo>
                  <a:pt x="653" y="683"/>
                </a:moveTo>
                <a:cubicBezTo>
                  <a:pt x="667" y="684"/>
                  <a:pt x="667" y="684"/>
                  <a:pt x="667" y="684"/>
                </a:cubicBezTo>
                <a:cubicBezTo>
                  <a:pt x="672" y="670"/>
                  <a:pt x="672" y="670"/>
                  <a:pt x="672" y="670"/>
                </a:cubicBezTo>
                <a:lnTo>
                  <a:pt x="653" y="683"/>
                </a:lnTo>
                <a:close/>
                <a:moveTo>
                  <a:pt x="609" y="620"/>
                </a:moveTo>
                <a:cubicBezTo>
                  <a:pt x="570" y="646"/>
                  <a:pt x="570" y="646"/>
                  <a:pt x="570" y="646"/>
                </a:cubicBezTo>
                <a:cubicBezTo>
                  <a:pt x="599" y="647"/>
                  <a:pt x="599" y="647"/>
                  <a:pt x="599" y="647"/>
                </a:cubicBezTo>
                <a:lnTo>
                  <a:pt x="609" y="620"/>
                </a:lnTo>
                <a:close/>
                <a:moveTo>
                  <a:pt x="650" y="635"/>
                </a:moveTo>
                <a:cubicBezTo>
                  <a:pt x="652" y="633"/>
                  <a:pt x="654" y="631"/>
                  <a:pt x="656" y="630"/>
                </a:cubicBezTo>
                <a:cubicBezTo>
                  <a:pt x="648" y="628"/>
                  <a:pt x="648" y="628"/>
                  <a:pt x="648" y="628"/>
                </a:cubicBezTo>
                <a:lnTo>
                  <a:pt x="650" y="635"/>
                </a:lnTo>
                <a:close/>
                <a:moveTo>
                  <a:pt x="760" y="579"/>
                </a:moveTo>
                <a:cubicBezTo>
                  <a:pt x="758" y="572"/>
                  <a:pt x="758" y="572"/>
                  <a:pt x="758" y="572"/>
                </a:cubicBezTo>
                <a:cubicBezTo>
                  <a:pt x="753" y="581"/>
                  <a:pt x="753" y="581"/>
                  <a:pt x="753" y="581"/>
                </a:cubicBezTo>
                <a:cubicBezTo>
                  <a:pt x="755" y="581"/>
                  <a:pt x="757" y="580"/>
                  <a:pt x="760" y="579"/>
                </a:cubicBezTo>
                <a:close/>
                <a:moveTo>
                  <a:pt x="711" y="591"/>
                </a:moveTo>
                <a:cubicBezTo>
                  <a:pt x="711" y="578"/>
                  <a:pt x="711" y="578"/>
                  <a:pt x="711" y="578"/>
                </a:cubicBezTo>
                <a:cubicBezTo>
                  <a:pt x="701" y="592"/>
                  <a:pt x="701" y="592"/>
                  <a:pt x="701" y="592"/>
                </a:cubicBezTo>
                <a:lnTo>
                  <a:pt x="711" y="591"/>
                </a:lnTo>
                <a:close/>
                <a:moveTo>
                  <a:pt x="711" y="508"/>
                </a:moveTo>
                <a:cubicBezTo>
                  <a:pt x="740" y="509"/>
                  <a:pt x="740" y="509"/>
                  <a:pt x="740" y="509"/>
                </a:cubicBezTo>
                <a:cubicBezTo>
                  <a:pt x="740" y="492"/>
                  <a:pt x="740" y="492"/>
                  <a:pt x="740" y="492"/>
                </a:cubicBezTo>
                <a:cubicBezTo>
                  <a:pt x="781" y="492"/>
                  <a:pt x="781" y="492"/>
                  <a:pt x="781" y="492"/>
                </a:cubicBezTo>
                <a:cubicBezTo>
                  <a:pt x="781" y="463"/>
                  <a:pt x="781" y="463"/>
                  <a:pt x="781" y="463"/>
                </a:cubicBezTo>
                <a:cubicBezTo>
                  <a:pt x="711" y="463"/>
                  <a:pt x="711" y="463"/>
                  <a:pt x="711" y="463"/>
                </a:cubicBezTo>
                <a:lnTo>
                  <a:pt x="711" y="508"/>
                </a:lnTo>
                <a:close/>
                <a:moveTo>
                  <a:pt x="733" y="542"/>
                </a:moveTo>
                <a:cubicBezTo>
                  <a:pt x="712" y="566"/>
                  <a:pt x="712" y="566"/>
                  <a:pt x="712" y="566"/>
                </a:cubicBezTo>
                <a:cubicBezTo>
                  <a:pt x="726" y="577"/>
                  <a:pt x="726" y="577"/>
                  <a:pt x="726" y="577"/>
                </a:cubicBezTo>
                <a:cubicBezTo>
                  <a:pt x="712" y="576"/>
                  <a:pt x="712" y="576"/>
                  <a:pt x="712" y="576"/>
                </a:cubicBezTo>
                <a:cubicBezTo>
                  <a:pt x="711" y="578"/>
                  <a:pt x="711" y="578"/>
                  <a:pt x="711" y="578"/>
                </a:cubicBezTo>
                <a:cubicBezTo>
                  <a:pt x="711" y="591"/>
                  <a:pt x="711" y="591"/>
                  <a:pt x="711" y="591"/>
                </a:cubicBezTo>
                <a:cubicBezTo>
                  <a:pt x="711" y="618"/>
                  <a:pt x="711" y="618"/>
                  <a:pt x="711" y="618"/>
                </a:cubicBezTo>
                <a:cubicBezTo>
                  <a:pt x="719" y="618"/>
                  <a:pt x="719" y="618"/>
                  <a:pt x="719" y="618"/>
                </a:cubicBezTo>
                <a:cubicBezTo>
                  <a:pt x="740" y="618"/>
                  <a:pt x="740" y="618"/>
                  <a:pt x="740" y="618"/>
                </a:cubicBezTo>
                <a:cubicBezTo>
                  <a:pt x="740" y="549"/>
                  <a:pt x="740" y="549"/>
                  <a:pt x="740" y="549"/>
                </a:cubicBezTo>
                <a:cubicBezTo>
                  <a:pt x="781" y="549"/>
                  <a:pt x="781" y="549"/>
                  <a:pt x="781" y="549"/>
                </a:cubicBezTo>
                <a:cubicBezTo>
                  <a:pt x="781" y="520"/>
                  <a:pt x="781" y="520"/>
                  <a:pt x="781" y="520"/>
                </a:cubicBezTo>
                <a:cubicBezTo>
                  <a:pt x="740" y="520"/>
                  <a:pt x="740" y="520"/>
                  <a:pt x="740" y="520"/>
                </a:cubicBezTo>
                <a:cubicBezTo>
                  <a:pt x="740" y="514"/>
                  <a:pt x="740" y="514"/>
                  <a:pt x="740" y="514"/>
                </a:cubicBezTo>
                <a:cubicBezTo>
                  <a:pt x="718" y="525"/>
                  <a:pt x="718" y="525"/>
                  <a:pt x="718" y="525"/>
                </a:cubicBezTo>
                <a:lnTo>
                  <a:pt x="733" y="542"/>
                </a:lnTo>
                <a:close/>
                <a:moveTo>
                  <a:pt x="848" y="579"/>
                </a:moveTo>
                <a:cubicBezTo>
                  <a:pt x="848" y="588"/>
                  <a:pt x="845" y="592"/>
                  <a:pt x="839" y="592"/>
                </a:cubicBezTo>
                <a:cubicBezTo>
                  <a:pt x="835" y="592"/>
                  <a:pt x="832" y="591"/>
                  <a:pt x="831" y="589"/>
                </a:cubicBezTo>
                <a:cubicBezTo>
                  <a:pt x="829" y="587"/>
                  <a:pt x="828" y="583"/>
                  <a:pt x="828" y="578"/>
                </a:cubicBezTo>
                <a:cubicBezTo>
                  <a:pt x="828" y="575"/>
                  <a:pt x="828" y="575"/>
                  <a:pt x="828" y="575"/>
                </a:cubicBezTo>
                <a:cubicBezTo>
                  <a:pt x="828" y="463"/>
                  <a:pt x="828" y="463"/>
                  <a:pt x="828" y="463"/>
                </a:cubicBezTo>
                <a:cubicBezTo>
                  <a:pt x="798" y="463"/>
                  <a:pt x="798" y="463"/>
                  <a:pt x="798" y="463"/>
                </a:cubicBezTo>
                <a:cubicBezTo>
                  <a:pt x="798" y="579"/>
                  <a:pt x="798" y="579"/>
                  <a:pt x="798" y="579"/>
                </a:cubicBezTo>
                <a:cubicBezTo>
                  <a:pt x="798" y="592"/>
                  <a:pt x="800" y="602"/>
                  <a:pt x="804" y="608"/>
                </a:cubicBezTo>
                <a:cubicBezTo>
                  <a:pt x="810" y="617"/>
                  <a:pt x="821" y="621"/>
                  <a:pt x="837" y="621"/>
                </a:cubicBezTo>
                <a:cubicBezTo>
                  <a:pt x="854" y="621"/>
                  <a:pt x="866" y="617"/>
                  <a:pt x="872" y="607"/>
                </a:cubicBezTo>
                <a:cubicBezTo>
                  <a:pt x="874" y="603"/>
                  <a:pt x="876" y="599"/>
                  <a:pt x="877" y="596"/>
                </a:cubicBezTo>
                <a:cubicBezTo>
                  <a:pt x="877" y="592"/>
                  <a:pt x="878" y="586"/>
                  <a:pt x="878" y="579"/>
                </a:cubicBezTo>
                <a:cubicBezTo>
                  <a:pt x="878" y="463"/>
                  <a:pt x="878" y="463"/>
                  <a:pt x="878" y="463"/>
                </a:cubicBezTo>
                <a:cubicBezTo>
                  <a:pt x="848" y="463"/>
                  <a:pt x="848" y="463"/>
                  <a:pt x="848" y="463"/>
                </a:cubicBezTo>
                <a:lnTo>
                  <a:pt x="848" y="579"/>
                </a:lnTo>
                <a:close/>
                <a:moveTo>
                  <a:pt x="894" y="492"/>
                </a:moveTo>
                <a:cubicBezTo>
                  <a:pt x="915" y="492"/>
                  <a:pt x="915" y="492"/>
                  <a:pt x="915" y="492"/>
                </a:cubicBezTo>
                <a:cubicBezTo>
                  <a:pt x="915" y="618"/>
                  <a:pt x="915" y="618"/>
                  <a:pt x="915" y="618"/>
                </a:cubicBezTo>
                <a:cubicBezTo>
                  <a:pt x="945" y="618"/>
                  <a:pt x="945" y="618"/>
                  <a:pt x="945" y="618"/>
                </a:cubicBezTo>
                <a:cubicBezTo>
                  <a:pt x="946" y="492"/>
                  <a:pt x="946" y="492"/>
                  <a:pt x="946" y="492"/>
                </a:cubicBezTo>
                <a:cubicBezTo>
                  <a:pt x="968" y="492"/>
                  <a:pt x="968" y="492"/>
                  <a:pt x="968" y="492"/>
                </a:cubicBezTo>
                <a:cubicBezTo>
                  <a:pt x="968" y="463"/>
                  <a:pt x="968" y="463"/>
                  <a:pt x="968" y="463"/>
                </a:cubicBezTo>
                <a:cubicBezTo>
                  <a:pt x="894" y="463"/>
                  <a:pt x="894" y="463"/>
                  <a:pt x="894" y="463"/>
                </a:cubicBezTo>
                <a:lnTo>
                  <a:pt x="894" y="492"/>
                </a:lnTo>
                <a:close/>
                <a:moveTo>
                  <a:pt x="1032" y="579"/>
                </a:moveTo>
                <a:cubicBezTo>
                  <a:pt x="1032" y="588"/>
                  <a:pt x="1029" y="592"/>
                  <a:pt x="1023" y="592"/>
                </a:cubicBezTo>
                <a:cubicBezTo>
                  <a:pt x="1019" y="592"/>
                  <a:pt x="1017" y="591"/>
                  <a:pt x="1015" y="589"/>
                </a:cubicBezTo>
                <a:cubicBezTo>
                  <a:pt x="1013" y="587"/>
                  <a:pt x="1013" y="583"/>
                  <a:pt x="1013" y="578"/>
                </a:cubicBezTo>
                <a:cubicBezTo>
                  <a:pt x="1013" y="575"/>
                  <a:pt x="1013" y="575"/>
                  <a:pt x="1013" y="575"/>
                </a:cubicBezTo>
                <a:cubicBezTo>
                  <a:pt x="1013" y="463"/>
                  <a:pt x="1013" y="463"/>
                  <a:pt x="1013" y="463"/>
                </a:cubicBezTo>
                <a:cubicBezTo>
                  <a:pt x="982" y="463"/>
                  <a:pt x="982" y="463"/>
                  <a:pt x="982" y="463"/>
                </a:cubicBezTo>
                <a:cubicBezTo>
                  <a:pt x="982" y="579"/>
                  <a:pt x="982" y="579"/>
                  <a:pt x="982" y="579"/>
                </a:cubicBezTo>
                <a:cubicBezTo>
                  <a:pt x="982" y="592"/>
                  <a:pt x="984" y="602"/>
                  <a:pt x="988" y="608"/>
                </a:cubicBezTo>
                <a:cubicBezTo>
                  <a:pt x="994" y="617"/>
                  <a:pt x="1005" y="621"/>
                  <a:pt x="1021" y="621"/>
                </a:cubicBezTo>
                <a:cubicBezTo>
                  <a:pt x="1038" y="621"/>
                  <a:pt x="1050" y="617"/>
                  <a:pt x="1056" y="607"/>
                </a:cubicBezTo>
                <a:cubicBezTo>
                  <a:pt x="1058" y="603"/>
                  <a:pt x="1060" y="599"/>
                  <a:pt x="1061" y="596"/>
                </a:cubicBezTo>
                <a:cubicBezTo>
                  <a:pt x="1061" y="592"/>
                  <a:pt x="1062" y="586"/>
                  <a:pt x="1062" y="579"/>
                </a:cubicBezTo>
                <a:cubicBezTo>
                  <a:pt x="1062" y="463"/>
                  <a:pt x="1062" y="463"/>
                  <a:pt x="1062" y="463"/>
                </a:cubicBezTo>
                <a:cubicBezTo>
                  <a:pt x="1032" y="463"/>
                  <a:pt x="1032" y="463"/>
                  <a:pt x="1032" y="463"/>
                </a:cubicBezTo>
                <a:lnTo>
                  <a:pt x="1032" y="579"/>
                </a:lnTo>
                <a:close/>
                <a:moveTo>
                  <a:pt x="1160" y="535"/>
                </a:moveTo>
                <a:cubicBezTo>
                  <a:pt x="1163" y="531"/>
                  <a:pt x="1164" y="525"/>
                  <a:pt x="1164" y="516"/>
                </a:cubicBezTo>
                <a:cubicBezTo>
                  <a:pt x="1164" y="491"/>
                  <a:pt x="1164" y="491"/>
                  <a:pt x="1164" y="491"/>
                </a:cubicBezTo>
                <a:cubicBezTo>
                  <a:pt x="1164" y="479"/>
                  <a:pt x="1161" y="470"/>
                  <a:pt x="1154" y="467"/>
                </a:cubicBezTo>
                <a:cubicBezTo>
                  <a:pt x="1149" y="464"/>
                  <a:pt x="1141" y="463"/>
                  <a:pt x="1127" y="463"/>
                </a:cubicBezTo>
                <a:cubicBezTo>
                  <a:pt x="1084" y="463"/>
                  <a:pt x="1084" y="463"/>
                  <a:pt x="1084" y="463"/>
                </a:cubicBezTo>
                <a:cubicBezTo>
                  <a:pt x="1084" y="618"/>
                  <a:pt x="1084" y="618"/>
                  <a:pt x="1084" y="618"/>
                </a:cubicBezTo>
                <a:cubicBezTo>
                  <a:pt x="1115" y="618"/>
                  <a:pt x="1115" y="618"/>
                  <a:pt x="1115" y="618"/>
                </a:cubicBezTo>
                <a:cubicBezTo>
                  <a:pt x="1115" y="548"/>
                  <a:pt x="1115" y="548"/>
                  <a:pt x="1115" y="548"/>
                </a:cubicBezTo>
                <a:cubicBezTo>
                  <a:pt x="1142" y="618"/>
                  <a:pt x="1142" y="618"/>
                  <a:pt x="1142" y="618"/>
                </a:cubicBezTo>
                <a:cubicBezTo>
                  <a:pt x="1173" y="618"/>
                  <a:pt x="1173" y="618"/>
                  <a:pt x="1173" y="618"/>
                </a:cubicBezTo>
                <a:cubicBezTo>
                  <a:pt x="1144" y="544"/>
                  <a:pt x="1144" y="544"/>
                  <a:pt x="1144" y="544"/>
                </a:cubicBezTo>
                <a:cubicBezTo>
                  <a:pt x="1151" y="542"/>
                  <a:pt x="1156" y="539"/>
                  <a:pt x="1160" y="535"/>
                </a:cubicBezTo>
                <a:close/>
                <a:moveTo>
                  <a:pt x="1135" y="507"/>
                </a:moveTo>
                <a:cubicBezTo>
                  <a:pt x="1135" y="511"/>
                  <a:pt x="1134" y="514"/>
                  <a:pt x="1132" y="516"/>
                </a:cubicBezTo>
                <a:cubicBezTo>
                  <a:pt x="1131" y="518"/>
                  <a:pt x="1128" y="519"/>
                  <a:pt x="1125" y="519"/>
                </a:cubicBezTo>
                <a:cubicBezTo>
                  <a:pt x="1115" y="519"/>
                  <a:pt x="1115" y="519"/>
                  <a:pt x="1115" y="519"/>
                </a:cubicBezTo>
                <a:cubicBezTo>
                  <a:pt x="1115" y="492"/>
                  <a:pt x="1115" y="492"/>
                  <a:pt x="1115" y="492"/>
                </a:cubicBezTo>
                <a:cubicBezTo>
                  <a:pt x="1126" y="492"/>
                  <a:pt x="1126" y="492"/>
                  <a:pt x="1126" y="492"/>
                </a:cubicBezTo>
                <a:cubicBezTo>
                  <a:pt x="1130" y="492"/>
                  <a:pt x="1132" y="493"/>
                  <a:pt x="1133" y="494"/>
                </a:cubicBezTo>
                <a:cubicBezTo>
                  <a:pt x="1134" y="496"/>
                  <a:pt x="1135" y="499"/>
                  <a:pt x="1135" y="504"/>
                </a:cubicBezTo>
                <a:lnTo>
                  <a:pt x="1135" y="507"/>
                </a:lnTo>
                <a:close/>
                <a:moveTo>
                  <a:pt x="749" y="510"/>
                </a:moveTo>
                <a:cubicBezTo>
                  <a:pt x="740" y="509"/>
                  <a:pt x="740" y="509"/>
                  <a:pt x="740" y="509"/>
                </a:cubicBezTo>
                <a:cubicBezTo>
                  <a:pt x="740" y="514"/>
                  <a:pt x="740" y="514"/>
                  <a:pt x="740" y="514"/>
                </a:cubicBezTo>
                <a:lnTo>
                  <a:pt x="749" y="510"/>
                </a:lnTo>
                <a:close/>
                <a:moveTo>
                  <a:pt x="710" y="515"/>
                </a:moveTo>
                <a:cubicBezTo>
                  <a:pt x="711" y="516"/>
                  <a:pt x="711" y="516"/>
                  <a:pt x="711" y="516"/>
                </a:cubicBezTo>
                <a:moveTo>
                  <a:pt x="700" y="529"/>
                </a:moveTo>
                <a:cubicBezTo>
                  <a:pt x="687" y="533"/>
                  <a:pt x="687" y="533"/>
                  <a:pt x="687" y="533"/>
                </a:cubicBezTo>
                <a:cubicBezTo>
                  <a:pt x="686" y="545"/>
                  <a:pt x="686" y="545"/>
                  <a:pt x="686" y="545"/>
                </a:cubicBezTo>
                <a:cubicBezTo>
                  <a:pt x="710" y="564"/>
                  <a:pt x="710" y="564"/>
                  <a:pt x="710" y="564"/>
                </a:cubicBezTo>
                <a:lnTo>
                  <a:pt x="700" y="529"/>
                </a:lnTo>
                <a:close/>
                <a:moveTo>
                  <a:pt x="630" y="570"/>
                </a:moveTo>
                <a:cubicBezTo>
                  <a:pt x="625" y="591"/>
                  <a:pt x="625" y="591"/>
                  <a:pt x="625" y="591"/>
                </a:cubicBezTo>
                <a:cubicBezTo>
                  <a:pt x="659" y="593"/>
                  <a:pt x="659" y="593"/>
                  <a:pt x="659" y="593"/>
                </a:cubicBezTo>
                <a:lnTo>
                  <a:pt x="630" y="570"/>
                </a:lnTo>
                <a:close/>
                <a:moveTo>
                  <a:pt x="711" y="578"/>
                </a:moveTo>
                <a:cubicBezTo>
                  <a:pt x="712" y="576"/>
                  <a:pt x="712" y="576"/>
                  <a:pt x="712" y="576"/>
                </a:cubicBezTo>
                <a:cubicBezTo>
                  <a:pt x="711" y="576"/>
                  <a:pt x="711" y="576"/>
                  <a:pt x="711" y="576"/>
                </a:cubicBezTo>
                <a:lnTo>
                  <a:pt x="711" y="578"/>
                </a:lnTo>
                <a:close/>
                <a:moveTo>
                  <a:pt x="703" y="532"/>
                </a:moveTo>
                <a:cubicBezTo>
                  <a:pt x="711" y="528"/>
                  <a:pt x="711" y="528"/>
                  <a:pt x="711" y="528"/>
                </a:cubicBezTo>
                <a:cubicBezTo>
                  <a:pt x="711" y="516"/>
                  <a:pt x="711" y="516"/>
                  <a:pt x="711" y="516"/>
                </a:cubicBezTo>
                <a:cubicBezTo>
                  <a:pt x="710" y="515"/>
                  <a:pt x="710" y="515"/>
                  <a:pt x="710" y="515"/>
                </a:cubicBezTo>
                <a:lnTo>
                  <a:pt x="703" y="532"/>
                </a:lnTo>
                <a:close/>
                <a:moveTo>
                  <a:pt x="686" y="596"/>
                </a:moveTo>
                <a:cubicBezTo>
                  <a:pt x="691" y="607"/>
                  <a:pt x="691" y="607"/>
                  <a:pt x="691" y="607"/>
                </a:cubicBezTo>
                <a:cubicBezTo>
                  <a:pt x="701" y="592"/>
                  <a:pt x="701" y="592"/>
                  <a:pt x="701" y="592"/>
                </a:cubicBezTo>
                <a:cubicBezTo>
                  <a:pt x="688" y="593"/>
                  <a:pt x="688" y="593"/>
                  <a:pt x="688" y="593"/>
                </a:cubicBezTo>
                <a:lnTo>
                  <a:pt x="686" y="596"/>
                </a:lnTo>
                <a:close/>
                <a:moveTo>
                  <a:pt x="711" y="576"/>
                </a:moveTo>
                <a:cubicBezTo>
                  <a:pt x="711" y="568"/>
                  <a:pt x="711" y="568"/>
                  <a:pt x="711" y="568"/>
                </a:cubicBezTo>
                <a:cubicBezTo>
                  <a:pt x="704" y="575"/>
                  <a:pt x="704" y="575"/>
                  <a:pt x="704" y="575"/>
                </a:cubicBezTo>
                <a:lnTo>
                  <a:pt x="711" y="576"/>
                </a:lnTo>
                <a:close/>
                <a:moveTo>
                  <a:pt x="686" y="596"/>
                </a:moveTo>
                <a:cubicBezTo>
                  <a:pt x="688" y="593"/>
                  <a:pt x="688" y="593"/>
                  <a:pt x="688" y="593"/>
                </a:cubicBezTo>
                <a:cubicBezTo>
                  <a:pt x="685" y="594"/>
                  <a:pt x="685" y="594"/>
                  <a:pt x="685" y="594"/>
                </a:cubicBezTo>
                <a:lnTo>
                  <a:pt x="686" y="596"/>
                </a:lnTo>
                <a:close/>
                <a:moveTo>
                  <a:pt x="718" y="525"/>
                </a:moveTo>
                <a:cubicBezTo>
                  <a:pt x="711" y="516"/>
                  <a:pt x="711" y="516"/>
                  <a:pt x="711" y="516"/>
                </a:cubicBezTo>
                <a:cubicBezTo>
                  <a:pt x="711" y="528"/>
                  <a:pt x="711" y="528"/>
                  <a:pt x="711" y="528"/>
                </a:cubicBezTo>
                <a:lnTo>
                  <a:pt x="718" y="525"/>
                </a:lnTo>
                <a:close/>
                <a:moveTo>
                  <a:pt x="386" y="50"/>
                </a:moveTo>
                <a:cubicBezTo>
                  <a:pt x="386" y="50"/>
                  <a:pt x="386" y="50"/>
                  <a:pt x="386" y="50"/>
                </a:cubicBezTo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itchFamily="34" charset="-122"/>
            </a:endParaRPr>
          </a:p>
        </p:txBody>
      </p:sp>
      <p:sp>
        <p:nvSpPr>
          <p:cNvPr id="251" name="任意多边形 250"/>
          <p:cNvSpPr/>
          <p:nvPr/>
        </p:nvSpPr>
        <p:spPr>
          <a:xfrm>
            <a:off x="334151" y="3278150"/>
            <a:ext cx="7948271" cy="757859"/>
          </a:xfrm>
          <a:custGeom>
            <a:avLst/>
            <a:gdLst>
              <a:gd name="connsiteX0" fmla="*/ 0 w 7948271"/>
              <a:gd name="connsiteY0" fmla="*/ 349363 h 349363"/>
              <a:gd name="connsiteX1" fmla="*/ 904560 w 7948271"/>
              <a:gd name="connsiteY1" fmla="*/ 0 h 349363"/>
              <a:gd name="connsiteX2" fmla="*/ 7043711 w 7948271"/>
              <a:gd name="connsiteY2" fmla="*/ 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349363 h 349363"/>
              <a:gd name="connsiteX1" fmla="*/ 1326585 w 7948271"/>
              <a:gd name="connsiteY1" fmla="*/ 0 h 349363"/>
              <a:gd name="connsiteX2" fmla="*/ 7043711 w 7948271"/>
              <a:gd name="connsiteY2" fmla="*/ 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349363 h 349363"/>
              <a:gd name="connsiteX1" fmla="*/ 1326585 w 7948271"/>
              <a:gd name="connsiteY1" fmla="*/ 0 h 349363"/>
              <a:gd name="connsiteX2" fmla="*/ 6290009 w 7948271"/>
              <a:gd name="connsiteY2" fmla="*/ 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349363 h 349363"/>
              <a:gd name="connsiteX1" fmla="*/ 1602222 w 7948271"/>
              <a:gd name="connsiteY1" fmla="*/ 0 h 349363"/>
              <a:gd name="connsiteX2" fmla="*/ 6290009 w 7948271"/>
              <a:gd name="connsiteY2" fmla="*/ 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349363 h 349363"/>
              <a:gd name="connsiteX1" fmla="*/ 1602222 w 7948271"/>
              <a:gd name="connsiteY1" fmla="*/ 0 h 349363"/>
              <a:gd name="connsiteX2" fmla="*/ 6423359 w 7948271"/>
              <a:gd name="connsiteY2" fmla="*/ 635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349363 h 349363"/>
              <a:gd name="connsiteX1" fmla="*/ 1602222 w 7948271"/>
              <a:gd name="connsiteY1" fmla="*/ 0 h 349363"/>
              <a:gd name="connsiteX2" fmla="*/ 6250096 w 7948271"/>
              <a:gd name="connsiteY2" fmla="*/ 0 h 349363"/>
              <a:gd name="connsiteX3" fmla="*/ 7948271 w 7948271"/>
              <a:gd name="connsiteY3" fmla="*/ 349363 h 349363"/>
              <a:gd name="connsiteX4" fmla="*/ 0 w 7948271"/>
              <a:gd name="connsiteY4" fmla="*/ 349363 h 349363"/>
              <a:gd name="connsiteX0" fmla="*/ 0 w 7948271"/>
              <a:gd name="connsiteY0" fmla="*/ 589312 h 589312"/>
              <a:gd name="connsiteX1" fmla="*/ 2730631 w 7948271"/>
              <a:gd name="connsiteY1" fmla="*/ 0 h 589312"/>
              <a:gd name="connsiteX2" fmla="*/ 6250096 w 7948271"/>
              <a:gd name="connsiteY2" fmla="*/ 239949 h 589312"/>
              <a:gd name="connsiteX3" fmla="*/ 7948271 w 7948271"/>
              <a:gd name="connsiteY3" fmla="*/ 589312 h 589312"/>
              <a:gd name="connsiteX4" fmla="*/ 0 w 7948271"/>
              <a:gd name="connsiteY4" fmla="*/ 589312 h 589312"/>
              <a:gd name="connsiteX0" fmla="*/ 0 w 7948271"/>
              <a:gd name="connsiteY0" fmla="*/ 595797 h 595797"/>
              <a:gd name="connsiteX1" fmla="*/ 2730631 w 7948271"/>
              <a:gd name="connsiteY1" fmla="*/ 6485 h 595797"/>
              <a:gd name="connsiteX2" fmla="*/ 5251390 w 7948271"/>
              <a:gd name="connsiteY2" fmla="*/ 0 h 595797"/>
              <a:gd name="connsiteX3" fmla="*/ 7948271 w 7948271"/>
              <a:gd name="connsiteY3" fmla="*/ 595797 h 595797"/>
              <a:gd name="connsiteX4" fmla="*/ 0 w 7948271"/>
              <a:gd name="connsiteY4" fmla="*/ 595797 h 595797"/>
              <a:gd name="connsiteX0" fmla="*/ 0 w 7948271"/>
              <a:gd name="connsiteY0" fmla="*/ 595797 h 595797"/>
              <a:gd name="connsiteX1" fmla="*/ 2164263 w 7948271"/>
              <a:gd name="connsiteY1" fmla="*/ 0 h 595797"/>
              <a:gd name="connsiteX2" fmla="*/ 5251390 w 7948271"/>
              <a:gd name="connsiteY2" fmla="*/ 0 h 595797"/>
              <a:gd name="connsiteX3" fmla="*/ 7948271 w 7948271"/>
              <a:gd name="connsiteY3" fmla="*/ 595797 h 595797"/>
              <a:gd name="connsiteX4" fmla="*/ 0 w 7948271"/>
              <a:gd name="connsiteY4" fmla="*/ 595797 h 595797"/>
              <a:gd name="connsiteX0" fmla="*/ 0 w 7948271"/>
              <a:gd name="connsiteY0" fmla="*/ 595797 h 595797"/>
              <a:gd name="connsiteX1" fmla="*/ 2164263 w 7948271"/>
              <a:gd name="connsiteY1" fmla="*/ 0 h 595797"/>
              <a:gd name="connsiteX2" fmla="*/ 5653466 w 7948271"/>
              <a:gd name="connsiteY2" fmla="*/ 0 h 595797"/>
              <a:gd name="connsiteX3" fmla="*/ 7948271 w 7948271"/>
              <a:gd name="connsiteY3" fmla="*/ 595797 h 595797"/>
              <a:gd name="connsiteX4" fmla="*/ 0 w 7948271"/>
              <a:gd name="connsiteY4" fmla="*/ 595797 h 595797"/>
              <a:gd name="connsiteX0" fmla="*/ 0 w 7948271"/>
              <a:gd name="connsiteY0" fmla="*/ 595797 h 595797"/>
              <a:gd name="connsiteX1" fmla="*/ 2618220 w 7948271"/>
              <a:gd name="connsiteY1" fmla="*/ 0 h 595797"/>
              <a:gd name="connsiteX2" fmla="*/ 5653466 w 7948271"/>
              <a:gd name="connsiteY2" fmla="*/ 0 h 595797"/>
              <a:gd name="connsiteX3" fmla="*/ 7948271 w 7948271"/>
              <a:gd name="connsiteY3" fmla="*/ 595797 h 595797"/>
              <a:gd name="connsiteX4" fmla="*/ 0 w 7948271"/>
              <a:gd name="connsiteY4" fmla="*/ 595797 h 595797"/>
              <a:gd name="connsiteX0" fmla="*/ 0 w 7948271"/>
              <a:gd name="connsiteY0" fmla="*/ 600985 h 600985"/>
              <a:gd name="connsiteX1" fmla="*/ 2618220 w 7948271"/>
              <a:gd name="connsiteY1" fmla="*/ 5188 h 600985"/>
              <a:gd name="connsiteX2" fmla="*/ 5244905 w 7948271"/>
              <a:gd name="connsiteY2" fmla="*/ 0 h 600985"/>
              <a:gd name="connsiteX3" fmla="*/ 7948271 w 7948271"/>
              <a:gd name="connsiteY3" fmla="*/ 600985 h 600985"/>
              <a:gd name="connsiteX4" fmla="*/ 0 w 7948271"/>
              <a:gd name="connsiteY4" fmla="*/ 600985 h 600985"/>
              <a:gd name="connsiteX0" fmla="*/ 0 w 7948271"/>
              <a:gd name="connsiteY0" fmla="*/ 606171 h 606171"/>
              <a:gd name="connsiteX1" fmla="*/ 2780347 w 7948271"/>
              <a:gd name="connsiteY1" fmla="*/ 0 h 606171"/>
              <a:gd name="connsiteX2" fmla="*/ 5244905 w 7948271"/>
              <a:gd name="connsiteY2" fmla="*/ 5186 h 606171"/>
              <a:gd name="connsiteX3" fmla="*/ 7948271 w 7948271"/>
              <a:gd name="connsiteY3" fmla="*/ 606171 h 606171"/>
              <a:gd name="connsiteX4" fmla="*/ 0 w 7948271"/>
              <a:gd name="connsiteY4" fmla="*/ 606171 h 606171"/>
              <a:gd name="connsiteX0" fmla="*/ 0 w 7948271"/>
              <a:gd name="connsiteY0" fmla="*/ 606171 h 606171"/>
              <a:gd name="connsiteX1" fmla="*/ 2780347 w 7948271"/>
              <a:gd name="connsiteY1" fmla="*/ 0 h 606171"/>
              <a:gd name="connsiteX2" fmla="*/ 5029947 w 7948271"/>
              <a:gd name="connsiteY2" fmla="*/ 0 h 606171"/>
              <a:gd name="connsiteX3" fmla="*/ 7948271 w 7948271"/>
              <a:gd name="connsiteY3" fmla="*/ 606171 h 606171"/>
              <a:gd name="connsiteX4" fmla="*/ 0 w 7948271"/>
              <a:gd name="connsiteY4" fmla="*/ 606171 h 606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8271" h="606171">
                <a:moveTo>
                  <a:pt x="0" y="606171"/>
                </a:moveTo>
                <a:lnTo>
                  <a:pt x="2780347" y="0"/>
                </a:lnTo>
                <a:lnTo>
                  <a:pt x="5029947" y="0"/>
                </a:lnTo>
                <a:lnTo>
                  <a:pt x="7948271" y="606171"/>
                </a:lnTo>
                <a:lnTo>
                  <a:pt x="0" y="606171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lumMod val="75000"/>
                  <a:alpha val="94000"/>
                </a:schemeClr>
              </a:gs>
              <a:gs pos="34000">
                <a:schemeClr val="bg1">
                  <a:lumMod val="65000"/>
                  <a:alpha val="2000"/>
                </a:schemeClr>
              </a:gs>
              <a:gs pos="100000">
                <a:schemeClr val="bg1">
                  <a:lumMod val="65000"/>
                  <a:alpha val="9000"/>
                </a:schemeClr>
              </a:gs>
            </a:gsLst>
            <a:lin ang="5400000" scaled="0"/>
            <a:tileRect/>
          </a:gradFill>
          <a:ln w="6350">
            <a:gradFill>
              <a:gsLst>
                <a:gs pos="63000">
                  <a:schemeClr val="bg1">
                    <a:lumMod val="85000"/>
                    <a:alpha val="14000"/>
                  </a:schemeClr>
                </a:gs>
                <a:gs pos="69000">
                  <a:schemeClr val="bg2">
                    <a:lumMod val="75000"/>
                    <a:alpha val="0"/>
                  </a:schemeClr>
                </a:gs>
                <a:gs pos="97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444" fontAlgn="ctr">
              <a:lnSpc>
                <a:spcPts val="1500"/>
              </a:lnSpc>
              <a:defRPr/>
            </a:pPr>
            <a:endParaRPr lang="en-US" altLang="en-US" sz="7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252" name="矩形 251"/>
          <p:cNvSpPr/>
          <p:nvPr/>
        </p:nvSpPr>
        <p:spPr>
          <a:xfrm>
            <a:off x="1255973" y="3591427"/>
            <a:ext cx="6091182" cy="4996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indent="-108000" algn="ctr">
              <a:lnSpc>
                <a:spcPct val="150000"/>
              </a:lnSpc>
              <a:spcAft>
                <a:spcPts val="800"/>
              </a:spcAft>
            </a:pP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预计未来</a:t>
            </a: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全球有</a:t>
            </a:r>
            <a:r>
              <a:rPr lang="en-US" altLang="zh-CN" sz="2000" b="1" dirty="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7</a:t>
            </a:r>
            <a:r>
              <a:rPr lang="zh-CN" altLang="en-US" sz="2000" b="1" dirty="0">
                <a:solidFill>
                  <a:srgbClr val="FAA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百万</a:t>
            </a: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专业人才短缺</a:t>
            </a:r>
          </a:p>
        </p:txBody>
      </p:sp>
      <p:sp>
        <p:nvSpPr>
          <p:cNvPr id="253" name="1698931511"/>
          <p:cNvSpPr txBox="1"/>
          <p:nvPr/>
        </p:nvSpPr>
        <p:spPr>
          <a:xfrm>
            <a:off x="228600" y="2528360"/>
            <a:ext cx="952133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>
            <a:defPPr>
              <a:defRPr lang="en-US"/>
            </a:defPPr>
            <a:lvl1pPr algn="ctr" defTabSz="914400">
              <a:lnSpc>
                <a:spcPct val="120000"/>
              </a:lnSpc>
              <a:defRPr kumimoji="1" sz="1000" b="1" ker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</a:rPr>
              <a:t>学生</a:t>
            </a:r>
            <a:r>
              <a:rPr lang="en-US" altLang="zh-CN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</a:rPr>
              <a:t>&amp;</a:t>
            </a:r>
            <a:r>
              <a:rPr lang="zh-CN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</a:rPr>
              <a:t>公众</a:t>
            </a:r>
          </a:p>
        </p:txBody>
      </p:sp>
      <p:sp>
        <p:nvSpPr>
          <p:cNvPr id="254" name="Rounded Rectangle 33"/>
          <p:cNvSpPr/>
          <p:nvPr/>
        </p:nvSpPr>
        <p:spPr bwMode="auto">
          <a:xfrm>
            <a:off x="7162218" y="2520192"/>
            <a:ext cx="1799987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kumimoji="1" lang="zh-CN" altLang="en-US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Gill Sans" pitchFamily="-84" charset="0"/>
              </a:rPr>
              <a:t>企业对</a:t>
            </a:r>
            <a:r>
              <a:rPr kumimoji="1" lang="en-US" altLang="zh-CN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Gill Sans" pitchFamily="-84" charset="0"/>
              </a:rPr>
              <a:t>ICT</a:t>
            </a:r>
            <a:r>
              <a:rPr kumimoji="1" lang="zh-CN" altLang="en-US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Gill Sans" pitchFamily="-84" charset="0"/>
              </a:rPr>
              <a:t>人才的需求</a:t>
            </a:r>
          </a:p>
        </p:txBody>
      </p:sp>
      <p:sp>
        <p:nvSpPr>
          <p:cNvPr id="255" name="KSO_Shape"/>
          <p:cNvSpPr>
            <a:spLocks/>
          </p:cNvSpPr>
          <p:nvPr/>
        </p:nvSpPr>
        <p:spPr bwMode="auto">
          <a:xfrm>
            <a:off x="7707994" y="2040331"/>
            <a:ext cx="432933" cy="426052"/>
          </a:xfrm>
          <a:custGeom>
            <a:avLst/>
            <a:gdLst>
              <a:gd name="T0" fmla="*/ 2147483646 w 5822"/>
              <a:gd name="T1" fmla="*/ 2147483646 h 6759"/>
              <a:gd name="T2" fmla="*/ 2147483646 w 5822"/>
              <a:gd name="T3" fmla="*/ 2147483646 h 6759"/>
              <a:gd name="T4" fmla="*/ 2147483646 w 5822"/>
              <a:gd name="T5" fmla="*/ 2147483646 h 6759"/>
              <a:gd name="T6" fmla="*/ 2147483646 w 5822"/>
              <a:gd name="T7" fmla="*/ 2147483646 h 6759"/>
              <a:gd name="T8" fmla="*/ 2147483646 w 5822"/>
              <a:gd name="T9" fmla="*/ 2147483646 h 6759"/>
              <a:gd name="T10" fmla="*/ 2147483646 w 5822"/>
              <a:gd name="T11" fmla="*/ 1253760573 h 6759"/>
              <a:gd name="T12" fmla="*/ 2147483646 w 5822"/>
              <a:gd name="T13" fmla="*/ 2147483646 h 6759"/>
              <a:gd name="T14" fmla="*/ 2147483646 w 5822"/>
              <a:gd name="T15" fmla="*/ 2147483646 h 6759"/>
              <a:gd name="T16" fmla="*/ 2147483646 w 5822"/>
              <a:gd name="T17" fmla="*/ 2147483646 h 6759"/>
              <a:gd name="T18" fmla="*/ 2147483646 w 5822"/>
              <a:gd name="T19" fmla="*/ 2147483646 h 6759"/>
              <a:gd name="T20" fmla="*/ 2147483646 w 5822"/>
              <a:gd name="T21" fmla="*/ 2147483646 h 6759"/>
              <a:gd name="T22" fmla="*/ 2147483646 w 5822"/>
              <a:gd name="T23" fmla="*/ 2147483646 h 6759"/>
              <a:gd name="T24" fmla="*/ 2147483646 w 5822"/>
              <a:gd name="T25" fmla="*/ 2147483646 h 6759"/>
              <a:gd name="T26" fmla="*/ 2147483646 w 5822"/>
              <a:gd name="T27" fmla="*/ 2147483646 h 6759"/>
              <a:gd name="T28" fmla="*/ 2147483646 w 5822"/>
              <a:gd name="T29" fmla="*/ 2147483646 h 6759"/>
              <a:gd name="T30" fmla="*/ 2147483646 w 5822"/>
              <a:gd name="T31" fmla="*/ 2147483646 h 6759"/>
              <a:gd name="T32" fmla="*/ 2147483646 w 5822"/>
              <a:gd name="T33" fmla="*/ 2147483646 h 6759"/>
              <a:gd name="T34" fmla="*/ 2147483646 w 5822"/>
              <a:gd name="T35" fmla="*/ 2147483646 h 6759"/>
              <a:gd name="T36" fmla="*/ 2147483646 w 5822"/>
              <a:gd name="T37" fmla="*/ 2147483646 h 6759"/>
              <a:gd name="T38" fmla="*/ 2147483646 w 5822"/>
              <a:gd name="T39" fmla="*/ 2147483646 h 6759"/>
              <a:gd name="T40" fmla="*/ 0 w 5822"/>
              <a:gd name="T41" fmla="*/ 2147483646 h 6759"/>
              <a:gd name="T42" fmla="*/ 2147483646 w 5822"/>
              <a:gd name="T43" fmla="*/ 2147483646 h 6759"/>
              <a:gd name="T44" fmla="*/ 2147483646 w 5822"/>
              <a:gd name="T45" fmla="*/ 2147483646 h 6759"/>
              <a:gd name="T46" fmla="*/ 2147483646 w 5822"/>
              <a:gd name="T47" fmla="*/ 2147483646 h 6759"/>
              <a:gd name="T48" fmla="*/ 2147483646 w 5822"/>
              <a:gd name="T49" fmla="*/ 2147483646 h 6759"/>
              <a:gd name="T50" fmla="*/ 2147483646 w 5822"/>
              <a:gd name="T51" fmla="*/ 2147483646 h 6759"/>
              <a:gd name="T52" fmla="*/ 2147483646 w 5822"/>
              <a:gd name="T53" fmla="*/ 2147483646 h 6759"/>
              <a:gd name="T54" fmla="*/ 2147483646 w 5822"/>
              <a:gd name="T55" fmla="*/ 2147483646 h 6759"/>
              <a:gd name="T56" fmla="*/ 2147483646 w 5822"/>
              <a:gd name="T57" fmla="*/ 2147483646 h 6759"/>
              <a:gd name="T58" fmla="*/ 2147483646 w 5822"/>
              <a:gd name="T59" fmla="*/ 2147483646 h 6759"/>
              <a:gd name="T60" fmla="*/ 2147483646 w 5822"/>
              <a:gd name="T61" fmla="*/ 2147483646 h 6759"/>
              <a:gd name="T62" fmla="*/ 2147483646 w 5822"/>
              <a:gd name="T63" fmla="*/ 2147483646 h 6759"/>
              <a:gd name="T64" fmla="*/ 2147483646 w 5822"/>
              <a:gd name="T65" fmla="*/ 2147483646 h 6759"/>
              <a:gd name="T66" fmla="*/ 2147483646 w 5822"/>
              <a:gd name="T67" fmla="*/ 2147483646 h 6759"/>
              <a:gd name="T68" fmla="*/ 2147483646 w 5822"/>
              <a:gd name="T69" fmla="*/ 2147483646 h 6759"/>
              <a:gd name="T70" fmla="*/ 2147483646 w 5822"/>
              <a:gd name="T71" fmla="*/ 2147483646 h 6759"/>
              <a:gd name="T72" fmla="*/ 2147483646 w 5822"/>
              <a:gd name="T73" fmla="*/ 2147483646 h 6759"/>
              <a:gd name="T74" fmla="*/ 2147483646 w 5822"/>
              <a:gd name="T75" fmla="*/ 2147483646 h 6759"/>
              <a:gd name="T76" fmla="*/ 2147483646 w 5822"/>
              <a:gd name="T77" fmla="*/ 2147483646 h 6759"/>
              <a:gd name="T78" fmla="*/ 2147483646 w 5822"/>
              <a:gd name="T79" fmla="*/ 2147483646 h 6759"/>
              <a:gd name="T80" fmla="*/ 2147483646 w 5822"/>
              <a:gd name="T81" fmla="*/ 2147483646 h 6759"/>
              <a:gd name="T82" fmla="*/ 2147483646 w 5822"/>
              <a:gd name="T83" fmla="*/ 2147483646 h 6759"/>
              <a:gd name="T84" fmla="*/ 2147483646 w 5822"/>
              <a:gd name="T85" fmla="*/ 2147483646 h 6759"/>
              <a:gd name="T86" fmla="*/ 2147483646 w 5822"/>
              <a:gd name="T87" fmla="*/ 2147483646 h 6759"/>
              <a:gd name="T88" fmla="*/ 2147483646 w 5822"/>
              <a:gd name="T89" fmla="*/ 2147483646 h 6759"/>
              <a:gd name="T90" fmla="*/ 2147483646 w 5822"/>
              <a:gd name="T91" fmla="*/ 2147483646 h 6759"/>
              <a:gd name="T92" fmla="*/ 2147483646 w 5822"/>
              <a:gd name="T93" fmla="*/ 2147483646 h 6759"/>
              <a:gd name="T94" fmla="*/ 2147483646 w 5822"/>
              <a:gd name="T95" fmla="*/ 2147483646 h 6759"/>
              <a:gd name="T96" fmla="*/ 2147483646 w 5822"/>
              <a:gd name="T97" fmla="*/ 2147483646 h 675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22" h="6759">
                <a:moveTo>
                  <a:pt x="0" y="6351"/>
                </a:moveTo>
                <a:lnTo>
                  <a:pt x="129" y="6351"/>
                </a:lnTo>
                <a:lnTo>
                  <a:pt x="129" y="3057"/>
                </a:lnTo>
                <a:lnTo>
                  <a:pt x="129" y="2914"/>
                </a:lnTo>
                <a:lnTo>
                  <a:pt x="266" y="2865"/>
                </a:lnTo>
                <a:lnTo>
                  <a:pt x="1775" y="2337"/>
                </a:lnTo>
                <a:lnTo>
                  <a:pt x="1775" y="1515"/>
                </a:lnTo>
                <a:lnTo>
                  <a:pt x="1775" y="1386"/>
                </a:lnTo>
                <a:lnTo>
                  <a:pt x="1892" y="1331"/>
                </a:lnTo>
                <a:lnTo>
                  <a:pt x="4422" y="137"/>
                </a:lnTo>
                <a:lnTo>
                  <a:pt x="4714" y="0"/>
                </a:lnTo>
                <a:lnTo>
                  <a:pt x="4714" y="56"/>
                </a:lnTo>
                <a:lnTo>
                  <a:pt x="5511" y="532"/>
                </a:lnTo>
                <a:lnTo>
                  <a:pt x="5511" y="6326"/>
                </a:lnTo>
                <a:lnTo>
                  <a:pt x="5822" y="6326"/>
                </a:lnTo>
                <a:lnTo>
                  <a:pt x="5822" y="6734"/>
                </a:lnTo>
                <a:lnTo>
                  <a:pt x="4510" y="6734"/>
                </a:lnTo>
                <a:lnTo>
                  <a:pt x="4305" y="6734"/>
                </a:lnTo>
                <a:lnTo>
                  <a:pt x="4305" y="6529"/>
                </a:lnTo>
                <a:lnTo>
                  <a:pt x="4305" y="643"/>
                </a:lnTo>
                <a:lnTo>
                  <a:pt x="2183" y="1644"/>
                </a:lnTo>
                <a:lnTo>
                  <a:pt x="2183" y="2194"/>
                </a:lnTo>
                <a:lnTo>
                  <a:pt x="2798" y="1979"/>
                </a:lnTo>
                <a:lnTo>
                  <a:pt x="3035" y="1895"/>
                </a:lnTo>
                <a:lnTo>
                  <a:pt x="3035" y="1889"/>
                </a:lnTo>
                <a:lnTo>
                  <a:pt x="3042" y="1892"/>
                </a:lnTo>
                <a:lnTo>
                  <a:pt x="3068" y="1884"/>
                </a:lnTo>
                <a:lnTo>
                  <a:pt x="3068" y="1909"/>
                </a:lnTo>
                <a:lnTo>
                  <a:pt x="3862" y="2381"/>
                </a:lnTo>
                <a:lnTo>
                  <a:pt x="3862" y="6313"/>
                </a:lnTo>
                <a:lnTo>
                  <a:pt x="4177" y="6313"/>
                </a:lnTo>
                <a:lnTo>
                  <a:pt x="4177" y="6722"/>
                </a:lnTo>
                <a:lnTo>
                  <a:pt x="2865" y="6722"/>
                </a:lnTo>
                <a:lnTo>
                  <a:pt x="2661" y="6722"/>
                </a:lnTo>
                <a:lnTo>
                  <a:pt x="2661" y="6517"/>
                </a:lnTo>
                <a:lnTo>
                  <a:pt x="2661" y="2458"/>
                </a:lnTo>
                <a:lnTo>
                  <a:pt x="538" y="3202"/>
                </a:lnTo>
                <a:lnTo>
                  <a:pt x="538" y="6556"/>
                </a:lnTo>
                <a:lnTo>
                  <a:pt x="538" y="6759"/>
                </a:lnTo>
                <a:lnTo>
                  <a:pt x="334" y="6759"/>
                </a:lnTo>
                <a:lnTo>
                  <a:pt x="0" y="6759"/>
                </a:lnTo>
                <a:lnTo>
                  <a:pt x="0" y="6351"/>
                </a:lnTo>
                <a:close/>
                <a:moveTo>
                  <a:pt x="776" y="6707"/>
                </a:moveTo>
                <a:lnTo>
                  <a:pt x="776" y="6707"/>
                </a:lnTo>
                <a:lnTo>
                  <a:pt x="1501" y="6707"/>
                </a:lnTo>
                <a:lnTo>
                  <a:pt x="2348" y="6707"/>
                </a:lnTo>
                <a:lnTo>
                  <a:pt x="2348" y="5989"/>
                </a:lnTo>
                <a:lnTo>
                  <a:pt x="1501" y="6044"/>
                </a:lnTo>
                <a:lnTo>
                  <a:pt x="776" y="6092"/>
                </a:lnTo>
                <a:lnTo>
                  <a:pt x="776" y="6707"/>
                </a:lnTo>
                <a:close/>
                <a:moveTo>
                  <a:pt x="776" y="4048"/>
                </a:moveTo>
                <a:lnTo>
                  <a:pt x="776" y="4048"/>
                </a:lnTo>
                <a:lnTo>
                  <a:pt x="1501" y="3842"/>
                </a:lnTo>
                <a:lnTo>
                  <a:pt x="2348" y="3604"/>
                </a:lnTo>
                <a:lnTo>
                  <a:pt x="2348" y="2883"/>
                </a:lnTo>
                <a:lnTo>
                  <a:pt x="1501" y="3178"/>
                </a:lnTo>
                <a:lnTo>
                  <a:pt x="776" y="3431"/>
                </a:lnTo>
                <a:lnTo>
                  <a:pt x="776" y="4048"/>
                </a:lnTo>
                <a:close/>
                <a:moveTo>
                  <a:pt x="776" y="4926"/>
                </a:moveTo>
                <a:lnTo>
                  <a:pt x="776" y="4926"/>
                </a:lnTo>
                <a:lnTo>
                  <a:pt x="1501" y="4788"/>
                </a:lnTo>
                <a:lnTo>
                  <a:pt x="2348" y="4628"/>
                </a:lnTo>
                <a:lnTo>
                  <a:pt x="2348" y="3909"/>
                </a:lnTo>
                <a:lnTo>
                  <a:pt x="1501" y="4124"/>
                </a:lnTo>
                <a:lnTo>
                  <a:pt x="776" y="4310"/>
                </a:lnTo>
                <a:lnTo>
                  <a:pt x="776" y="4926"/>
                </a:lnTo>
                <a:close/>
                <a:moveTo>
                  <a:pt x="776" y="5811"/>
                </a:moveTo>
                <a:lnTo>
                  <a:pt x="776" y="5811"/>
                </a:lnTo>
                <a:lnTo>
                  <a:pt x="1501" y="5741"/>
                </a:lnTo>
                <a:lnTo>
                  <a:pt x="2348" y="5661"/>
                </a:lnTo>
                <a:lnTo>
                  <a:pt x="2348" y="4942"/>
                </a:lnTo>
                <a:lnTo>
                  <a:pt x="1501" y="5078"/>
                </a:lnTo>
                <a:lnTo>
                  <a:pt x="776" y="5194"/>
                </a:lnTo>
                <a:lnTo>
                  <a:pt x="776" y="5811"/>
                </a:lnTo>
                <a:close/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itchFamily="34" charset="0"/>
            </a:endParaRPr>
          </a:p>
        </p:txBody>
      </p:sp>
      <p:sp>
        <p:nvSpPr>
          <p:cNvPr id="256" name="矩形 255">
            <a:hlinkClick r:id="" action="ppaction://noaction"/>
          </p:cNvPr>
          <p:cNvSpPr/>
          <p:nvPr/>
        </p:nvSpPr>
        <p:spPr bwMode="auto">
          <a:xfrm>
            <a:off x="5278403" y="1911818"/>
            <a:ext cx="1809100" cy="858245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defRPr/>
            </a:pPr>
            <a:endParaRPr lang="en-US" altLang="zh-CN" sz="7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Arial"/>
            </a:endParaRPr>
          </a:p>
        </p:txBody>
      </p:sp>
      <p:sp>
        <p:nvSpPr>
          <p:cNvPr id="257" name="矩形 256"/>
          <p:cNvSpPr/>
          <p:nvPr/>
        </p:nvSpPr>
        <p:spPr>
          <a:xfrm>
            <a:off x="5184524" y="1846923"/>
            <a:ext cx="1996858" cy="988034"/>
          </a:xfrm>
          <a:prstGeom prst="rect">
            <a:avLst/>
          </a:prstGeom>
          <a:noFill/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444" fontAlgn="ctr">
              <a:lnSpc>
                <a:spcPts val="1500"/>
              </a:lnSpc>
              <a:buClr>
                <a:srgbClr val="CC9900"/>
              </a:buClr>
              <a:defRPr/>
            </a:pPr>
            <a:endParaRPr lang="zh-CN" altLang="en-US" sz="70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Arial"/>
            </a:endParaRPr>
          </a:p>
        </p:txBody>
      </p:sp>
      <p:grpSp>
        <p:nvGrpSpPr>
          <p:cNvPr id="258" name="组合 257"/>
          <p:cNvGrpSpPr/>
          <p:nvPr/>
        </p:nvGrpSpPr>
        <p:grpSpPr>
          <a:xfrm>
            <a:off x="5178288" y="1839858"/>
            <a:ext cx="2011883" cy="1006633"/>
            <a:chOff x="5496564" y="1484477"/>
            <a:chExt cx="1477575" cy="758250"/>
          </a:xfrm>
          <a:solidFill>
            <a:srgbClr val="0070C4"/>
          </a:solidFill>
        </p:grpSpPr>
        <p:sp>
          <p:nvSpPr>
            <p:cNvPr id="259" name="半闭框 258"/>
            <p:cNvSpPr/>
            <p:nvPr/>
          </p:nvSpPr>
          <p:spPr>
            <a:xfrm>
              <a:off x="5496564" y="1484477"/>
              <a:ext cx="119692" cy="95931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60" name="半闭框 259"/>
            <p:cNvSpPr/>
            <p:nvPr/>
          </p:nvSpPr>
          <p:spPr>
            <a:xfrm rot="5400000">
              <a:off x="6866327" y="1472597"/>
              <a:ext cx="95931" cy="119692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61" name="半闭框 260"/>
            <p:cNvSpPr/>
            <p:nvPr/>
          </p:nvSpPr>
          <p:spPr>
            <a:xfrm rot="16200000">
              <a:off x="5508444" y="2134915"/>
              <a:ext cx="95931" cy="119692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62" name="半闭框 261"/>
            <p:cNvSpPr/>
            <p:nvPr/>
          </p:nvSpPr>
          <p:spPr>
            <a:xfrm rot="10800000">
              <a:off x="6854447" y="2146796"/>
              <a:ext cx="119692" cy="95931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sp>
        <p:nvSpPr>
          <p:cNvPr id="263" name="733432841"/>
          <p:cNvSpPr/>
          <p:nvPr/>
        </p:nvSpPr>
        <p:spPr>
          <a:xfrm>
            <a:off x="5434941" y="2471342"/>
            <a:ext cx="1658797" cy="307760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25" tIns="45712" rIns="91425" bIns="45712" numCol="1" rtlCol="0" anchor="ctr" anchorCtr="1" compatLnSpc="1">
            <a:prstTxWarp prst="textNoShape">
              <a:avLst/>
            </a:prstTxWarp>
            <a:spAutoFit/>
          </a:bodyPr>
          <a:lstStyle/>
          <a:p>
            <a:pPr marL="108000" indent="-108000" algn="ctr" defTabSz="1219444" fontAlgn="base">
              <a:spcBef>
                <a:spcPct val="0"/>
              </a:spcBef>
            </a:pP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就业咨询</a:t>
            </a:r>
            <a:r>
              <a:rPr lang="en-US" altLang="zh-CN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</a:p>
          <a:p>
            <a:pPr marL="108000" indent="-108000" algn="ctr" defTabSz="1219444" fontAlgn="base">
              <a:spcBef>
                <a:spcPct val="0"/>
              </a:spcBef>
            </a:pP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位</a:t>
            </a:r>
            <a:r>
              <a:rPr lang="en-US" altLang="zh-CN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人才转移</a:t>
            </a:r>
          </a:p>
        </p:txBody>
      </p:sp>
      <p:sp>
        <p:nvSpPr>
          <p:cNvPr id="264" name="TextBox 131"/>
          <p:cNvSpPr txBox="1"/>
          <p:nvPr/>
        </p:nvSpPr>
        <p:spPr>
          <a:xfrm>
            <a:off x="5067600" y="1881921"/>
            <a:ext cx="2231634" cy="334707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108000" indent="-108000" algn="ctr" defTabSz="1219444">
              <a:lnSpc>
                <a:spcPct val="150000"/>
              </a:lnSpc>
              <a:spcAft>
                <a:spcPts val="800"/>
              </a:spcAft>
              <a:defRPr sz="1200" b="1">
                <a:solidFill>
                  <a:srgbClr val="46AFE1"/>
                </a:solidFill>
                <a:latin typeface="Akkurat" pitchFamily="2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sz="1050">
                <a:solidFill>
                  <a:srgbClr val="0070C4"/>
                </a:solidFill>
                <a:latin typeface="微软雅黑" panose="020B0503020204020204" pitchFamily="34" charset="-122"/>
                <a:cs typeface="Arial" pitchFamily="34" charset="0"/>
              </a:rPr>
              <a:t>沟通人才价值</a:t>
            </a:r>
          </a:p>
        </p:txBody>
      </p:sp>
      <p:sp>
        <p:nvSpPr>
          <p:cNvPr id="265" name="矩形 264">
            <a:hlinkClick r:id="" action="ppaction://noaction"/>
          </p:cNvPr>
          <p:cNvSpPr/>
          <p:nvPr/>
        </p:nvSpPr>
        <p:spPr bwMode="auto">
          <a:xfrm>
            <a:off x="1515031" y="1914906"/>
            <a:ext cx="1643689" cy="85541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75000"/>
                  <a:alpha val="48000"/>
                </a:schemeClr>
              </a:gs>
              <a:gs pos="3400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65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444" fontAlgn="ctr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defRPr/>
            </a:pPr>
            <a:endParaRPr lang="en-US" altLang="zh-CN" sz="7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Arial"/>
            </a:endParaRPr>
          </a:p>
        </p:txBody>
      </p:sp>
      <p:sp>
        <p:nvSpPr>
          <p:cNvPr id="266" name="矩形 265"/>
          <p:cNvSpPr/>
          <p:nvPr/>
        </p:nvSpPr>
        <p:spPr>
          <a:xfrm>
            <a:off x="1429735" y="1850226"/>
            <a:ext cx="1814280" cy="984770"/>
          </a:xfrm>
          <a:prstGeom prst="rect">
            <a:avLst/>
          </a:prstGeom>
          <a:noFill/>
          <a:ln w="6350">
            <a:gradFill>
              <a:gsLst>
                <a:gs pos="74000">
                  <a:schemeClr val="bg1">
                    <a:lumMod val="85000"/>
                  </a:schemeClr>
                </a:gs>
                <a:gs pos="67000">
                  <a:srgbClr val="B2B2B2"/>
                </a:gs>
                <a:gs pos="69000">
                  <a:schemeClr val="bg2">
                    <a:lumMod val="75000"/>
                  </a:schemeClr>
                </a:gs>
                <a:gs pos="82001">
                  <a:srgbClr val="777777"/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1219444" fontAlgn="ctr">
              <a:lnSpc>
                <a:spcPts val="1500"/>
              </a:lnSpc>
              <a:buClr>
                <a:srgbClr val="CC9900"/>
              </a:buClr>
              <a:defRPr/>
            </a:pPr>
            <a:endParaRPr lang="zh-CN" altLang="en-US" sz="70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  <a:sym typeface="Arial"/>
            </a:endParaRPr>
          </a:p>
        </p:txBody>
      </p:sp>
      <p:grpSp>
        <p:nvGrpSpPr>
          <p:cNvPr id="267" name="组合 266"/>
          <p:cNvGrpSpPr/>
          <p:nvPr/>
        </p:nvGrpSpPr>
        <p:grpSpPr>
          <a:xfrm>
            <a:off x="1424069" y="1843184"/>
            <a:ext cx="1827931" cy="1003308"/>
            <a:chOff x="1936552" y="1484477"/>
            <a:chExt cx="1477575" cy="758250"/>
          </a:xfrm>
          <a:solidFill>
            <a:srgbClr val="0070C4"/>
          </a:solidFill>
        </p:grpSpPr>
        <p:sp>
          <p:nvSpPr>
            <p:cNvPr id="268" name="半闭框 267"/>
            <p:cNvSpPr/>
            <p:nvPr/>
          </p:nvSpPr>
          <p:spPr>
            <a:xfrm>
              <a:off x="1936552" y="1484477"/>
              <a:ext cx="119692" cy="95931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69" name="半闭框 268"/>
            <p:cNvSpPr/>
            <p:nvPr/>
          </p:nvSpPr>
          <p:spPr>
            <a:xfrm rot="5400000">
              <a:off x="3306315" y="1472597"/>
              <a:ext cx="95931" cy="119692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70" name="半闭框 269"/>
            <p:cNvSpPr/>
            <p:nvPr/>
          </p:nvSpPr>
          <p:spPr>
            <a:xfrm rot="16200000">
              <a:off x="1948432" y="2134915"/>
              <a:ext cx="95931" cy="119692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71" name="半闭框 270"/>
            <p:cNvSpPr/>
            <p:nvPr/>
          </p:nvSpPr>
          <p:spPr>
            <a:xfrm rot="10800000">
              <a:off x="3294435" y="2146796"/>
              <a:ext cx="119692" cy="95931"/>
            </a:xfrm>
            <a:prstGeom prst="halfFrame">
              <a:avLst>
                <a:gd name="adj1" fmla="val 14814"/>
                <a:gd name="adj2" fmla="val 1481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4" indent="-228600" algn="ctr" defTabSz="256041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sp>
        <p:nvSpPr>
          <p:cNvPr id="272" name="TextBox 131"/>
          <p:cNvSpPr txBox="1"/>
          <p:nvPr/>
        </p:nvSpPr>
        <p:spPr>
          <a:xfrm>
            <a:off x="1361698" y="1896893"/>
            <a:ext cx="1938313" cy="253916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108000" indent="-108000" algn="ctr" defTabSz="1219444">
              <a:lnSpc>
                <a:spcPct val="150000"/>
              </a:lnSpc>
              <a:spcAft>
                <a:spcPts val="800"/>
              </a:spcAft>
              <a:defRPr sz="1200" b="1">
                <a:solidFill>
                  <a:srgbClr val="46AFE1"/>
                </a:solidFill>
                <a:latin typeface="Akkurat" pitchFamily="2" charset="0"/>
                <a:ea typeface="微软雅黑" panose="020B0503020204020204" pitchFamily="34" charset="-122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050">
                <a:solidFill>
                  <a:srgbClr val="0070C4"/>
                </a:solidFill>
                <a:latin typeface="微软雅黑" panose="020B0503020204020204" pitchFamily="34" charset="-122"/>
                <a:cs typeface="Arial" pitchFamily="34" charset="0"/>
              </a:rPr>
              <a:t>构建人才联盟</a:t>
            </a:r>
          </a:p>
        </p:txBody>
      </p:sp>
      <p:sp>
        <p:nvSpPr>
          <p:cNvPr id="273" name="Rounded Rectangle 43"/>
          <p:cNvSpPr/>
          <p:nvPr/>
        </p:nvSpPr>
        <p:spPr bwMode="auto">
          <a:xfrm>
            <a:off x="1937942" y="2209322"/>
            <a:ext cx="800189" cy="248586"/>
          </a:xfrm>
          <a:prstGeom prst="roundRect">
            <a:avLst>
              <a:gd name="adj" fmla="val 1955"/>
            </a:avLst>
          </a:prstGeom>
          <a:noFill/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25" tIns="45712" rIns="91425" bIns="45712" numCol="1" rtlCol="0" anchor="ctr" anchorCtr="1" compatLnSpc="1">
            <a:prstTxWarp prst="textNoShape">
              <a:avLst/>
            </a:prstTxWarp>
            <a:spAutoFit/>
          </a:bodyPr>
          <a:lstStyle/>
          <a:p>
            <a:pPr marL="108000" indent="-108000" algn="ctr" defTabSz="1219444" fontAlgn="base">
              <a:lnSpc>
                <a:spcPts val="2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学院</a:t>
            </a:r>
            <a:r>
              <a:rPr lang="en-US" altLang="zh-CN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&amp; </a:t>
            </a:r>
          </a:p>
          <a:p>
            <a:pPr marL="108000" indent="-108000" algn="ctr" defTabSz="1219444" fontAlgn="base">
              <a:lnSpc>
                <a:spcPts val="2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合作伙伴</a:t>
            </a:r>
          </a:p>
        </p:txBody>
      </p:sp>
      <p:sp>
        <p:nvSpPr>
          <p:cNvPr id="274" name="132980084"/>
          <p:cNvSpPr/>
          <p:nvPr/>
        </p:nvSpPr>
        <p:spPr>
          <a:xfrm>
            <a:off x="1498105" y="2525202"/>
            <a:ext cx="1678633" cy="200039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25" tIns="45712" rIns="91425" bIns="45712" numCol="1" rtlCol="0" anchor="ctr" anchorCtr="1" compatLnSpc="1">
            <a:prstTxWarp prst="textNoShape">
              <a:avLst/>
            </a:prstTxWarp>
            <a:spAutoFit/>
          </a:bodyPr>
          <a:lstStyle/>
          <a:p>
            <a:pPr marL="108000" indent="-108000" algn="ctr" defTabSz="121944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推动认证</a:t>
            </a:r>
            <a:r>
              <a:rPr lang="en-US" altLang="zh-CN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能力咨询</a:t>
            </a:r>
            <a:r>
              <a:rPr lang="en-US" altLang="zh-CN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70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人才培养</a:t>
            </a:r>
          </a:p>
        </p:txBody>
      </p:sp>
      <p:sp>
        <p:nvSpPr>
          <p:cNvPr id="275" name="Freeform 6"/>
          <p:cNvSpPr>
            <a:spLocks/>
          </p:cNvSpPr>
          <p:nvPr/>
        </p:nvSpPr>
        <p:spPr bwMode="auto">
          <a:xfrm>
            <a:off x="502994" y="2054425"/>
            <a:ext cx="403345" cy="436319"/>
          </a:xfrm>
          <a:custGeom>
            <a:avLst/>
            <a:gdLst/>
            <a:ahLst/>
            <a:cxnLst>
              <a:cxn ang="0">
                <a:pos x="2847" y="2277"/>
              </a:cxn>
              <a:cxn ang="0">
                <a:pos x="2512" y="2065"/>
              </a:cxn>
              <a:cxn ang="0">
                <a:pos x="2065" y="1875"/>
              </a:cxn>
              <a:cxn ang="0">
                <a:pos x="1943" y="1841"/>
              </a:cxn>
              <a:cxn ang="0">
                <a:pos x="1820" y="1640"/>
              </a:cxn>
              <a:cxn ang="0">
                <a:pos x="1742" y="1629"/>
              </a:cxn>
              <a:cxn ang="0">
                <a:pos x="1820" y="1472"/>
              </a:cxn>
              <a:cxn ang="0">
                <a:pos x="1851" y="1286"/>
              </a:cxn>
              <a:cxn ang="0">
                <a:pos x="1940" y="1216"/>
              </a:cxn>
              <a:cxn ang="0">
                <a:pos x="1981" y="1101"/>
              </a:cxn>
              <a:cxn ang="0">
                <a:pos x="1972" y="883"/>
              </a:cxn>
              <a:cxn ang="0">
                <a:pos x="1938" y="797"/>
              </a:cxn>
              <a:cxn ang="0">
                <a:pos x="1955" y="527"/>
              </a:cxn>
              <a:cxn ang="0">
                <a:pos x="1931" y="323"/>
              </a:cxn>
              <a:cxn ang="0">
                <a:pos x="1856" y="208"/>
              </a:cxn>
              <a:cxn ang="0">
                <a:pos x="1765" y="193"/>
              </a:cxn>
              <a:cxn ang="0">
                <a:pos x="1708" y="140"/>
              </a:cxn>
              <a:cxn ang="0">
                <a:pos x="1106" y="151"/>
              </a:cxn>
              <a:cxn ang="0">
                <a:pos x="882" y="791"/>
              </a:cxn>
              <a:cxn ang="0">
                <a:pos x="848" y="925"/>
              </a:cxn>
              <a:cxn ang="0">
                <a:pos x="933" y="1246"/>
              </a:cxn>
              <a:cxn ang="0">
                <a:pos x="994" y="1260"/>
              </a:cxn>
              <a:cxn ang="0">
                <a:pos x="1016" y="1495"/>
              </a:cxn>
              <a:cxn ang="0">
                <a:pos x="1094" y="1626"/>
              </a:cxn>
              <a:cxn ang="0">
                <a:pos x="1035" y="1640"/>
              </a:cxn>
              <a:cxn ang="0">
                <a:pos x="913" y="1841"/>
              </a:cxn>
              <a:cxn ang="0">
                <a:pos x="790" y="1875"/>
              </a:cxn>
              <a:cxn ang="0">
                <a:pos x="343" y="2065"/>
              </a:cxn>
              <a:cxn ang="0">
                <a:pos x="8" y="2277"/>
              </a:cxn>
              <a:cxn ang="0">
                <a:pos x="2" y="2713"/>
              </a:cxn>
              <a:cxn ang="0">
                <a:pos x="1253" y="2713"/>
              </a:cxn>
              <a:cxn ang="0">
                <a:pos x="1345" y="2085"/>
              </a:cxn>
              <a:cxn ang="0">
                <a:pos x="1269" y="1923"/>
              </a:cxn>
              <a:cxn ang="0">
                <a:pos x="1445" y="1839"/>
              </a:cxn>
              <a:cxn ang="0">
                <a:pos x="1594" y="1922"/>
              </a:cxn>
              <a:cxn ang="0">
                <a:pos x="1512" y="2088"/>
              </a:cxn>
              <a:cxn ang="0">
                <a:pos x="1657" y="2713"/>
              </a:cxn>
              <a:cxn ang="0">
                <a:pos x="2853" y="2713"/>
              </a:cxn>
              <a:cxn ang="0">
                <a:pos x="2847" y="2277"/>
              </a:cxn>
            </a:cxnLst>
            <a:rect l="0" t="0" r="r" b="b"/>
            <a:pathLst>
              <a:path w="2856" h="2713">
                <a:moveTo>
                  <a:pt x="2847" y="2277"/>
                </a:moveTo>
                <a:cubicBezTo>
                  <a:pt x="2800" y="2140"/>
                  <a:pt x="2643" y="2120"/>
                  <a:pt x="2512" y="2065"/>
                </a:cubicBezTo>
                <a:cubicBezTo>
                  <a:pt x="2368" y="2004"/>
                  <a:pt x="2209" y="1934"/>
                  <a:pt x="2065" y="1875"/>
                </a:cubicBezTo>
                <a:cubicBezTo>
                  <a:pt x="2024" y="1864"/>
                  <a:pt x="1983" y="1852"/>
                  <a:pt x="1943" y="1841"/>
                </a:cubicBezTo>
                <a:cubicBezTo>
                  <a:pt x="1894" y="1808"/>
                  <a:pt x="1846" y="1696"/>
                  <a:pt x="1820" y="1640"/>
                </a:cubicBezTo>
                <a:cubicBezTo>
                  <a:pt x="1794" y="1636"/>
                  <a:pt x="1768" y="1633"/>
                  <a:pt x="1742" y="1629"/>
                </a:cubicBezTo>
                <a:cubicBezTo>
                  <a:pt x="1746" y="1543"/>
                  <a:pt x="1799" y="1538"/>
                  <a:pt x="1820" y="1472"/>
                </a:cubicBezTo>
                <a:cubicBezTo>
                  <a:pt x="1838" y="1415"/>
                  <a:pt x="1822" y="1339"/>
                  <a:pt x="1851" y="1286"/>
                </a:cubicBezTo>
                <a:cubicBezTo>
                  <a:pt x="1871" y="1248"/>
                  <a:pt x="1917" y="1248"/>
                  <a:pt x="1940" y="1216"/>
                </a:cubicBezTo>
                <a:cubicBezTo>
                  <a:pt x="1961" y="1187"/>
                  <a:pt x="1974" y="1137"/>
                  <a:pt x="1981" y="1101"/>
                </a:cubicBezTo>
                <a:cubicBezTo>
                  <a:pt x="1993" y="1036"/>
                  <a:pt x="2003" y="947"/>
                  <a:pt x="1972" y="883"/>
                </a:cubicBezTo>
                <a:cubicBezTo>
                  <a:pt x="1954" y="846"/>
                  <a:pt x="1943" y="842"/>
                  <a:pt x="1938" y="797"/>
                </a:cubicBezTo>
                <a:cubicBezTo>
                  <a:pt x="1932" y="743"/>
                  <a:pt x="1954" y="566"/>
                  <a:pt x="1955" y="527"/>
                </a:cubicBezTo>
                <a:cubicBezTo>
                  <a:pt x="1957" y="428"/>
                  <a:pt x="1955" y="420"/>
                  <a:pt x="1931" y="323"/>
                </a:cubicBezTo>
                <a:cubicBezTo>
                  <a:pt x="1931" y="323"/>
                  <a:pt x="1902" y="235"/>
                  <a:pt x="1856" y="208"/>
                </a:cubicBezTo>
                <a:cubicBezTo>
                  <a:pt x="1765" y="193"/>
                  <a:pt x="1765" y="193"/>
                  <a:pt x="1765" y="193"/>
                </a:cubicBezTo>
                <a:cubicBezTo>
                  <a:pt x="1708" y="140"/>
                  <a:pt x="1708" y="140"/>
                  <a:pt x="1708" y="140"/>
                </a:cubicBezTo>
                <a:cubicBezTo>
                  <a:pt x="1481" y="0"/>
                  <a:pt x="1237" y="98"/>
                  <a:pt x="1106" y="151"/>
                </a:cubicBezTo>
                <a:cubicBezTo>
                  <a:pt x="918" y="212"/>
                  <a:pt x="799" y="397"/>
                  <a:pt x="882" y="791"/>
                </a:cubicBezTo>
                <a:cubicBezTo>
                  <a:pt x="896" y="858"/>
                  <a:pt x="845" y="888"/>
                  <a:pt x="848" y="925"/>
                </a:cubicBezTo>
                <a:cubicBezTo>
                  <a:pt x="856" y="1005"/>
                  <a:pt x="857" y="1198"/>
                  <a:pt x="933" y="1246"/>
                </a:cubicBezTo>
                <a:cubicBezTo>
                  <a:pt x="940" y="1250"/>
                  <a:pt x="994" y="1264"/>
                  <a:pt x="994" y="1260"/>
                </a:cubicBezTo>
                <a:cubicBezTo>
                  <a:pt x="1001" y="1338"/>
                  <a:pt x="1009" y="1417"/>
                  <a:pt x="1016" y="1495"/>
                </a:cubicBezTo>
                <a:cubicBezTo>
                  <a:pt x="1035" y="1547"/>
                  <a:pt x="1080" y="1552"/>
                  <a:pt x="1094" y="1626"/>
                </a:cubicBezTo>
                <a:cubicBezTo>
                  <a:pt x="1035" y="1640"/>
                  <a:pt x="1035" y="1640"/>
                  <a:pt x="1035" y="1640"/>
                </a:cubicBezTo>
                <a:cubicBezTo>
                  <a:pt x="1009" y="1696"/>
                  <a:pt x="961" y="1808"/>
                  <a:pt x="913" y="1841"/>
                </a:cubicBezTo>
                <a:cubicBezTo>
                  <a:pt x="872" y="1852"/>
                  <a:pt x="831" y="1864"/>
                  <a:pt x="790" y="1875"/>
                </a:cubicBezTo>
                <a:cubicBezTo>
                  <a:pt x="646" y="1934"/>
                  <a:pt x="487" y="2004"/>
                  <a:pt x="343" y="2065"/>
                </a:cubicBezTo>
                <a:cubicBezTo>
                  <a:pt x="212" y="2120"/>
                  <a:pt x="56" y="2140"/>
                  <a:pt x="8" y="2277"/>
                </a:cubicBezTo>
                <a:cubicBezTo>
                  <a:pt x="8" y="2370"/>
                  <a:pt x="0" y="2590"/>
                  <a:pt x="2" y="2713"/>
                </a:cubicBezTo>
                <a:cubicBezTo>
                  <a:pt x="1253" y="2713"/>
                  <a:pt x="1253" y="2713"/>
                  <a:pt x="1253" y="2713"/>
                </a:cubicBezTo>
                <a:cubicBezTo>
                  <a:pt x="1345" y="2085"/>
                  <a:pt x="1345" y="2085"/>
                  <a:pt x="1345" y="2085"/>
                </a:cubicBezTo>
                <a:cubicBezTo>
                  <a:pt x="1269" y="1923"/>
                  <a:pt x="1269" y="1923"/>
                  <a:pt x="1269" y="1923"/>
                </a:cubicBezTo>
                <a:cubicBezTo>
                  <a:pt x="1445" y="1839"/>
                  <a:pt x="1445" y="1839"/>
                  <a:pt x="1445" y="1839"/>
                </a:cubicBezTo>
                <a:cubicBezTo>
                  <a:pt x="1594" y="1922"/>
                  <a:pt x="1594" y="1922"/>
                  <a:pt x="1594" y="1922"/>
                </a:cubicBezTo>
                <a:cubicBezTo>
                  <a:pt x="1512" y="2088"/>
                  <a:pt x="1512" y="2088"/>
                  <a:pt x="1512" y="2088"/>
                </a:cubicBezTo>
                <a:cubicBezTo>
                  <a:pt x="1657" y="2713"/>
                  <a:pt x="1657" y="2713"/>
                  <a:pt x="1657" y="2713"/>
                </a:cubicBezTo>
                <a:cubicBezTo>
                  <a:pt x="2853" y="2713"/>
                  <a:pt x="2853" y="2713"/>
                  <a:pt x="2853" y="2713"/>
                </a:cubicBezTo>
                <a:cubicBezTo>
                  <a:pt x="2856" y="2590"/>
                  <a:pt x="2847" y="2370"/>
                  <a:pt x="2847" y="2277"/>
                </a:cubicBezTo>
              </a:path>
            </a:pathLst>
          </a:cu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itchFamily="34" charset="0"/>
            </a:endParaRPr>
          </a:p>
        </p:txBody>
      </p:sp>
      <p:grpSp>
        <p:nvGrpSpPr>
          <p:cNvPr id="276" name="组合 68"/>
          <p:cNvGrpSpPr/>
          <p:nvPr/>
        </p:nvGrpSpPr>
        <p:grpSpPr>
          <a:xfrm rot="10800000">
            <a:off x="1203841" y="2211622"/>
            <a:ext cx="140010" cy="134822"/>
            <a:chOff x="6040138" y="1255717"/>
            <a:chExt cx="411254" cy="396014"/>
          </a:xfrm>
          <a:solidFill>
            <a:schemeClr val="bg1">
              <a:lumMod val="65000"/>
            </a:schemeClr>
          </a:solidFill>
          <a:effectLst>
            <a:outerShdw blurRad="63500" dist="50800" sx="1000" sy="1000" algn="ctr" rotWithShape="0">
              <a:srgbClr val="000000"/>
            </a:outerShdw>
          </a:effectLst>
        </p:grpSpPr>
        <p:sp>
          <p:nvSpPr>
            <p:cNvPr id="277" name="等腰三角形 276"/>
            <p:cNvSpPr/>
            <p:nvPr/>
          </p:nvSpPr>
          <p:spPr>
            <a:xfrm rot="16200000">
              <a:off x="597119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78" name="等腰三角形 277"/>
            <p:cNvSpPr/>
            <p:nvPr/>
          </p:nvSpPr>
          <p:spPr>
            <a:xfrm rot="16200000">
              <a:off x="612432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grpSp>
        <p:nvGrpSpPr>
          <p:cNvPr id="279" name="组合 68"/>
          <p:cNvGrpSpPr/>
          <p:nvPr/>
        </p:nvGrpSpPr>
        <p:grpSpPr>
          <a:xfrm rot="10800000">
            <a:off x="3333545" y="2179425"/>
            <a:ext cx="140010" cy="134822"/>
            <a:chOff x="6040138" y="1255717"/>
            <a:chExt cx="411254" cy="396014"/>
          </a:xfrm>
          <a:solidFill>
            <a:schemeClr val="bg1">
              <a:lumMod val="65000"/>
            </a:schemeClr>
          </a:solidFill>
          <a:effectLst>
            <a:outerShdw blurRad="63500" dist="50800" sx="1000" sy="1000" algn="ctr" rotWithShape="0">
              <a:srgbClr val="000000"/>
            </a:outerShdw>
          </a:effectLst>
        </p:grpSpPr>
        <p:sp>
          <p:nvSpPr>
            <p:cNvPr id="280" name="等腰三角形 279"/>
            <p:cNvSpPr/>
            <p:nvPr/>
          </p:nvSpPr>
          <p:spPr>
            <a:xfrm rot="16200000">
              <a:off x="597119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81" name="等腰三角形 280"/>
            <p:cNvSpPr/>
            <p:nvPr/>
          </p:nvSpPr>
          <p:spPr>
            <a:xfrm rot="16200000">
              <a:off x="612432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grpSp>
        <p:nvGrpSpPr>
          <p:cNvPr id="282" name="组合 68"/>
          <p:cNvGrpSpPr/>
          <p:nvPr/>
        </p:nvGrpSpPr>
        <p:grpSpPr>
          <a:xfrm rot="10800000">
            <a:off x="5006700" y="2179425"/>
            <a:ext cx="140010" cy="134822"/>
            <a:chOff x="6040138" y="1255717"/>
            <a:chExt cx="411254" cy="396014"/>
          </a:xfrm>
          <a:solidFill>
            <a:schemeClr val="bg1">
              <a:lumMod val="65000"/>
            </a:schemeClr>
          </a:solidFill>
          <a:effectLst>
            <a:outerShdw blurRad="63500" dist="50800" sx="1000" sy="1000" algn="ctr" rotWithShape="0">
              <a:srgbClr val="000000"/>
            </a:outerShdw>
          </a:effectLst>
        </p:grpSpPr>
        <p:sp>
          <p:nvSpPr>
            <p:cNvPr id="283" name="等腰三角形 282"/>
            <p:cNvSpPr/>
            <p:nvPr/>
          </p:nvSpPr>
          <p:spPr>
            <a:xfrm rot="16200000">
              <a:off x="597119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84" name="等腰三角形 283"/>
            <p:cNvSpPr/>
            <p:nvPr/>
          </p:nvSpPr>
          <p:spPr>
            <a:xfrm rot="16200000">
              <a:off x="612432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grpSp>
        <p:nvGrpSpPr>
          <p:cNvPr id="285" name="组合 68"/>
          <p:cNvGrpSpPr/>
          <p:nvPr/>
        </p:nvGrpSpPr>
        <p:grpSpPr>
          <a:xfrm rot="10800000">
            <a:off x="7277916" y="2179425"/>
            <a:ext cx="140010" cy="134822"/>
            <a:chOff x="6040138" y="1255717"/>
            <a:chExt cx="411254" cy="396014"/>
          </a:xfrm>
          <a:solidFill>
            <a:schemeClr val="bg1">
              <a:lumMod val="65000"/>
            </a:schemeClr>
          </a:solidFill>
          <a:effectLst>
            <a:outerShdw blurRad="63500" dist="50800" sx="1000" sy="1000" algn="ctr" rotWithShape="0">
              <a:srgbClr val="000000"/>
            </a:outerShdw>
          </a:effectLst>
        </p:grpSpPr>
        <p:sp>
          <p:nvSpPr>
            <p:cNvPr id="286" name="等腰三角形 285"/>
            <p:cNvSpPr/>
            <p:nvPr/>
          </p:nvSpPr>
          <p:spPr>
            <a:xfrm rot="16200000">
              <a:off x="597119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  <p:sp>
          <p:nvSpPr>
            <p:cNvPr id="287" name="等腰三角形 286"/>
            <p:cNvSpPr/>
            <p:nvPr/>
          </p:nvSpPr>
          <p:spPr>
            <a:xfrm rot="16200000">
              <a:off x="6124323" y="1324662"/>
              <a:ext cx="396014" cy="25812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zh-CN" altLang="en-US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endParaRPr>
            </a:p>
          </p:txBody>
        </p:sp>
      </p:grpSp>
      <p:sp>
        <p:nvSpPr>
          <p:cNvPr id="288" name="椭圆 287"/>
          <p:cNvSpPr/>
          <p:nvPr/>
        </p:nvSpPr>
        <p:spPr>
          <a:xfrm>
            <a:off x="3638631" y="1668724"/>
            <a:ext cx="1156308" cy="1156312"/>
          </a:xfrm>
          <a:prstGeom prst="ellipse">
            <a:avLst/>
          </a:prstGeom>
          <a:gradFill flip="none" rotWithShape="1">
            <a:gsLst>
              <a:gs pos="0">
                <a:srgbClr val="0070C4"/>
              </a:gs>
              <a:gs pos="100000">
                <a:srgbClr val="005DA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4" indent="-228600" algn="ctr" defTabSz="2560411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  <a:defRPr/>
            </a:pPr>
            <a:endParaRPr lang="zh-CN" altLang="en-US" noProof="1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itchFamily="34" charset="-122"/>
            </a:endParaRPr>
          </a:p>
        </p:txBody>
      </p:sp>
      <p:sp>
        <p:nvSpPr>
          <p:cNvPr id="289" name="Rounded Rectangle 33"/>
          <p:cNvSpPr/>
          <p:nvPr/>
        </p:nvSpPr>
        <p:spPr bwMode="auto">
          <a:xfrm>
            <a:off x="3723891" y="2562387"/>
            <a:ext cx="946302" cy="17025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00" tIns="60949" rIns="121900" bIns="60949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kumimoji="1" lang="en-US" altLang="zh-CN" sz="1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Gill Sans" pitchFamily="-84" charset="0"/>
              </a:rPr>
              <a:t>ICT</a:t>
            </a:r>
            <a:r>
              <a:rPr kumimoji="1" lang="zh-CN" altLang="en-US" sz="10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Gill Sans" pitchFamily="-84" charset="0"/>
              </a:rPr>
              <a:t>人才</a:t>
            </a:r>
          </a:p>
        </p:txBody>
      </p:sp>
      <p:sp>
        <p:nvSpPr>
          <p:cNvPr id="290" name="KSO_Shape"/>
          <p:cNvSpPr>
            <a:spLocks/>
          </p:cNvSpPr>
          <p:nvPr/>
        </p:nvSpPr>
        <p:spPr bwMode="auto">
          <a:xfrm>
            <a:off x="3725829" y="1817952"/>
            <a:ext cx="885438" cy="745244"/>
          </a:xfrm>
          <a:custGeom>
            <a:avLst/>
            <a:gdLst>
              <a:gd name="T0" fmla="*/ 1134092 w 2300288"/>
              <a:gd name="T1" fmla="*/ 968860 h 1936750"/>
              <a:gd name="T2" fmla="*/ 1214775 w 2300288"/>
              <a:gd name="T3" fmla="*/ 1049028 h 1936750"/>
              <a:gd name="T4" fmla="*/ 1216884 w 2300288"/>
              <a:gd name="T5" fmla="*/ 1064537 h 1936750"/>
              <a:gd name="T6" fmla="*/ 1151230 w 2300288"/>
              <a:gd name="T7" fmla="*/ 1136031 h 1936750"/>
              <a:gd name="T8" fmla="*/ 1182871 w 2300288"/>
              <a:gd name="T9" fmla="*/ 1247216 h 1936750"/>
              <a:gd name="T10" fmla="*/ 1204228 w 2300288"/>
              <a:gd name="T11" fmla="*/ 1413599 h 1936750"/>
              <a:gd name="T12" fmla="*/ 1046025 w 2300288"/>
              <a:gd name="T13" fmla="*/ 1361555 h 1936750"/>
              <a:gd name="T14" fmla="*/ 1071074 w 2300288"/>
              <a:gd name="T15" fmla="*/ 1209103 h 1936750"/>
              <a:gd name="T16" fmla="*/ 1033632 w 2300288"/>
              <a:gd name="T17" fmla="*/ 1075313 h 1936750"/>
              <a:gd name="T18" fmla="*/ 1028095 w 2300288"/>
              <a:gd name="T19" fmla="*/ 1060068 h 1936750"/>
              <a:gd name="T20" fmla="*/ 1033632 w 2300288"/>
              <a:gd name="T21" fmla="*/ 1045086 h 1936750"/>
              <a:gd name="T22" fmla="*/ 1116162 w 2300288"/>
              <a:gd name="T23" fmla="*/ 967020 h 1936750"/>
              <a:gd name="T24" fmla="*/ 1415999 w 2300288"/>
              <a:gd name="T25" fmla="*/ 862909 h 1936750"/>
              <a:gd name="T26" fmla="*/ 1591713 w 2300288"/>
              <a:gd name="T27" fmla="*/ 924102 h 1936750"/>
              <a:gd name="T28" fmla="*/ 1763745 w 2300288"/>
              <a:gd name="T29" fmla="*/ 983456 h 1936750"/>
              <a:gd name="T30" fmla="*/ 1808726 w 2300288"/>
              <a:gd name="T31" fmla="*/ 1009194 h 1936750"/>
              <a:gd name="T32" fmla="*/ 1836345 w 2300288"/>
              <a:gd name="T33" fmla="*/ 1041235 h 1936750"/>
              <a:gd name="T34" fmla="*/ 1870541 w 2300288"/>
              <a:gd name="T35" fmla="*/ 1114771 h 1936750"/>
              <a:gd name="T36" fmla="*/ 1893952 w 2300288"/>
              <a:gd name="T37" fmla="*/ 1212469 h 1936750"/>
              <a:gd name="T38" fmla="*/ 1905000 w 2300288"/>
              <a:gd name="T39" fmla="*/ 1335643 h 1936750"/>
              <a:gd name="T40" fmla="*/ 1899740 w 2300288"/>
              <a:gd name="T41" fmla="*/ 1362957 h 1936750"/>
              <a:gd name="T42" fmla="*/ 1874487 w 2300288"/>
              <a:gd name="T43" fmla="*/ 1383704 h 1936750"/>
              <a:gd name="T44" fmla="*/ 1781895 w 2300288"/>
              <a:gd name="T45" fmla="*/ 1418897 h 1936750"/>
              <a:gd name="T46" fmla="*/ 1625909 w 2300288"/>
              <a:gd name="T47" fmla="*/ 1447524 h 1936750"/>
              <a:gd name="T48" fmla="*/ 1404950 w 2300288"/>
              <a:gd name="T49" fmla="*/ 1464857 h 1936750"/>
              <a:gd name="T50" fmla="*/ 948915 w 2300288"/>
              <a:gd name="T51" fmla="*/ 1532887 h 1936750"/>
              <a:gd name="T52" fmla="*/ 96732 w 2300288"/>
              <a:gd name="T53" fmla="*/ 835367 h 1936750"/>
              <a:gd name="T54" fmla="*/ 1152637 w 2300288"/>
              <a:gd name="T55" fmla="*/ 1576 h 1936750"/>
              <a:gd name="T56" fmla="*/ 1203190 w 2300288"/>
              <a:gd name="T57" fmla="*/ 12613 h 1936750"/>
              <a:gd name="T58" fmla="*/ 1249793 w 2300288"/>
              <a:gd name="T59" fmla="*/ 32847 h 1936750"/>
              <a:gd name="T60" fmla="*/ 1292446 w 2300288"/>
              <a:gd name="T61" fmla="*/ 62015 h 1936750"/>
              <a:gd name="T62" fmla="*/ 1357480 w 2300288"/>
              <a:gd name="T63" fmla="*/ 134804 h 1936750"/>
              <a:gd name="T64" fmla="*/ 1402767 w 2300288"/>
              <a:gd name="T65" fmla="*/ 235972 h 1936750"/>
              <a:gd name="T66" fmla="*/ 1414352 w 2300288"/>
              <a:gd name="T67" fmla="*/ 301403 h 1936750"/>
              <a:gd name="T68" fmla="*/ 1414615 w 2300288"/>
              <a:gd name="T69" fmla="*/ 367360 h 1936750"/>
              <a:gd name="T70" fmla="*/ 1402767 w 2300288"/>
              <a:gd name="T71" fmla="*/ 444090 h 1936750"/>
              <a:gd name="T72" fmla="*/ 1379596 w 2300288"/>
              <a:gd name="T73" fmla="*/ 521346 h 1936750"/>
              <a:gd name="T74" fmla="*/ 1346158 w 2300288"/>
              <a:gd name="T75" fmla="*/ 595186 h 1936750"/>
              <a:gd name="T76" fmla="*/ 1304295 w 2300288"/>
              <a:gd name="T77" fmla="*/ 661143 h 1936750"/>
              <a:gd name="T78" fmla="*/ 1223990 w 2300288"/>
              <a:gd name="T79" fmla="*/ 866108 h 1936750"/>
              <a:gd name="T80" fmla="*/ 1146318 w 2300288"/>
              <a:gd name="T81" fmla="*/ 934430 h 1936750"/>
              <a:gd name="T82" fmla="*/ 1120778 w 2300288"/>
              <a:gd name="T83" fmla="*/ 944678 h 1936750"/>
              <a:gd name="T84" fmla="*/ 1086550 w 2300288"/>
              <a:gd name="T85" fmla="*/ 925758 h 1936750"/>
              <a:gd name="T86" fmla="*/ 993607 w 2300288"/>
              <a:gd name="T87" fmla="*/ 837202 h 1936750"/>
              <a:gd name="T88" fmla="*/ 928310 w 2300288"/>
              <a:gd name="T89" fmla="*/ 643274 h 1936750"/>
              <a:gd name="T90" fmla="*/ 888553 w 2300288"/>
              <a:gd name="T91" fmla="*/ 574427 h 1936750"/>
              <a:gd name="T92" fmla="*/ 858011 w 2300288"/>
              <a:gd name="T93" fmla="*/ 499273 h 1936750"/>
              <a:gd name="T94" fmla="*/ 837737 w 2300288"/>
              <a:gd name="T95" fmla="*/ 421754 h 1936750"/>
              <a:gd name="T96" fmla="*/ 829575 w 2300288"/>
              <a:gd name="T97" fmla="*/ 346075 h 1936750"/>
              <a:gd name="T98" fmla="*/ 832734 w 2300288"/>
              <a:gd name="T99" fmla="*/ 284848 h 1936750"/>
              <a:gd name="T100" fmla="*/ 852482 w 2300288"/>
              <a:gd name="T101" fmla="*/ 204965 h 1936750"/>
              <a:gd name="T102" fmla="*/ 905667 w 2300288"/>
              <a:gd name="T103" fmla="*/ 109840 h 1936750"/>
              <a:gd name="T104" fmla="*/ 964645 w 2300288"/>
              <a:gd name="T105" fmla="*/ 52818 h 1936750"/>
              <a:gd name="T106" fmla="*/ 1008615 w 2300288"/>
              <a:gd name="T107" fmla="*/ 26277 h 1936750"/>
              <a:gd name="T108" fmla="*/ 1056535 w 2300288"/>
              <a:gd name="T109" fmla="*/ 8671 h 1936750"/>
              <a:gd name="T110" fmla="*/ 1107614 w 2300288"/>
              <a:gd name="T111" fmla="*/ 262 h 19367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300288" h="1936750">
                <a:moveTo>
                  <a:pt x="1352860" y="1166813"/>
                </a:moveTo>
                <a:lnTo>
                  <a:pt x="1355725" y="1166813"/>
                </a:lnTo>
                <a:lnTo>
                  <a:pt x="1358272" y="1166813"/>
                </a:lnTo>
                <a:lnTo>
                  <a:pt x="1361456" y="1167131"/>
                </a:lnTo>
                <a:lnTo>
                  <a:pt x="1364003" y="1168083"/>
                </a:lnTo>
                <a:lnTo>
                  <a:pt x="1366869" y="1168718"/>
                </a:lnTo>
                <a:lnTo>
                  <a:pt x="1369416" y="1170306"/>
                </a:lnTo>
                <a:lnTo>
                  <a:pt x="1371644" y="1171258"/>
                </a:lnTo>
                <a:lnTo>
                  <a:pt x="1374192" y="1173163"/>
                </a:lnTo>
                <a:lnTo>
                  <a:pt x="1376420" y="1175386"/>
                </a:lnTo>
                <a:lnTo>
                  <a:pt x="1461429" y="1260158"/>
                </a:lnTo>
                <a:lnTo>
                  <a:pt x="1463339" y="1262381"/>
                </a:lnTo>
                <a:lnTo>
                  <a:pt x="1465249" y="1264603"/>
                </a:lnTo>
                <a:lnTo>
                  <a:pt x="1466841" y="1267143"/>
                </a:lnTo>
                <a:lnTo>
                  <a:pt x="1467797" y="1269683"/>
                </a:lnTo>
                <a:lnTo>
                  <a:pt x="1469070" y="1272223"/>
                </a:lnTo>
                <a:lnTo>
                  <a:pt x="1469388" y="1275081"/>
                </a:lnTo>
                <a:lnTo>
                  <a:pt x="1469707" y="1277938"/>
                </a:lnTo>
                <a:lnTo>
                  <a:pt x="1470025" y="1280478"/>
                </a:lnTo>
                <a:lnTo>
                  <a:pt x="1469707" y="1283336"/>
                </a:lnTo>
                <a:lnTo>
                  <a:pt x="1469388" y="1285876"/>
                </a:lnTo>
                <a:lnTo>
                  <a:pt x="1469070" y="1289051"/>
                </a:lnTo>
                <a:lnTo>
                  <a:pt x="1467797" y="1291591"/>
                </a:lnTo>
                <a:lnTo>
                  <a:pt x="1466841" y="1294131"/>
                </a:lnTo>
                <a:lnTo>
                  <a:pt x="1465249" y="1296671"/>
                </a:lnTo>
                <a:lnTo>
                  <a:pt x="1463339" y="1298893"/>
                </a:lnTo>
                <a:lnTo>
                  <a:pt x="1461429" y="1301116"/>
                </a:lnTo>
                <a:lnTo>
                  <a:pt x="1390111" y="1372236"/>
                </a:lnTo>
                <a:lnTo>
                  <a:pt x="1396160" y="1386206"/>
                </a:lnTo>
                <a:lnTo>
                  <a:pt x="1401573" y="1402081"/>
                </a:lnTo>
                <a:lnTo>
                  <a:pt x="1407304" y="1420178"/>
                </a:lnTo>
                <a:lnTo>
                  <a:pt x="1412716" y="1439228"/>
                </a:lnTo>
                <a:lnTo>
                  <a:pt x="1418447" y="1460501"/>
                </a:lnTo>
                <a:lnTo>
                  <a:pt x="1423541" y="1483043"/>
                </a:lnTo>
                <a:lnTo>
                  <a:pt x="1428317" y="1506538"/>
                </a:lnTo>
                <a:lnTo>
                  <a:pt x="1433093" y="1531938"/>
                </a:lnTo>
                <a:lnTo>
                  <a:pt x="1437550" y="1558608"/>
                </a:lnTo>
                <a:lnTo>
                  <a:pt x="1441689" y="1586231"/>
                </a:lnTo>
                <a:lnTo>
                  <a:pt x="1445191" y="1614806"/>
                </a:lnTo>
                <a:lnTo>
                  <a:pt x="1448693" y="1644651"/>
                </a:lnTo>
                <a:lnTo>
                  <a:pt x="1451559" y="1675448"/>
                </a:lnTo>
                <a:lnTo>
                  <a:pt x="1454106" y="1707516"/>
                </a:lnTo>
                <a:lnTo>
                  <a:pt x="1456016" y="1739901"/>
                </a:lnTo>
                <a:lnTo>
                  <a:pt x="1457608" y="1773238"/>
                </a:lnTo>
                <a:lnTo>
                  <a:pt x="1254161" y="1773238"/>
                </a:lnTo>
                <a:lnTo>
                  <a:pt x="1255753" y="1739901"/>
                </a:lnTo>
                <a:lnTo>
                  <a:pt x="1257344" y="1707516"/>
                </a:lnTo>
                <a:lnTo>
                  <a:pt x="1260210" y="1675448"/>
                </a:lnTo>
                <a:lnTo>
                  <a:pt x="1263075" y="1644651"/>
                </a:lnTo>
                <a:lnTo>
                  <a:pt x="1266259" y="1614806"/>
                </a:lnTo>
                <a:lnTo>
                  <a:pt x="1270080" y="1586231"/>
                </a:lnTo>
                <a:lnTo>
                  <a:pt x="1274219" y="1558608"/>
                </a:lnTo>
                <a:lnTo>
                  <a:pt x="1278676" y="1531938"/>
                </a:lnTo>
                <a:lnTo>
                  <a:pt x="1283452" y="1506538"/>
                </a:lnTo>
                <a:lnTo>
                  <a:pt x="1288228" y="1483043"/>
                </a:lnTo>
                <a:lnTo>
                  <a:pt x="1293322" y="1460501"/>
                </a:lnTo>
                <a:lnTo>
                  <a:pt x="1298734" y="1439228"/>
                </a:lnTo>
                <a:lnTo>
                  <a:pt x="1304465" y="1419861"/>
                </a:lnTo>
                <a:lnTo>
                  <a:pt x="1309878" y="1402081"/>
                </a:lnTo>
                <a:lnTo>
                  <a:pt x="1315609" y="1386206"/>
                </a:lnTo>
                <a:lnTo>
                  <a:pt x="1321340" y="1371918"/>
                </a:lnTo>
                <a:lnTo>
                  <a:pt x="1250022" y="1301116"/>
                </a:lnTo>
                <a:lnTo>
                  <a:pt x="1248111" y="1298893"/>
                </a:lnTo>
                <a:lnTo>
                  <a:pt x="1246519" y="1296671"/>
                </a:lnTo>
                <a:lnTo>
                  <a:pt x="1244927" y="1294131"/>
                </a:lnTo>
                <a:lnTo>
                  <a:pt x="1243654" y="1291591"/>
                </a:lnTo>
                <a:lnTo>
                  <a:pt x="1242699" y="1289051"/>
                </a:lnTo>
                <a:lnTo>
                  <a:pt x="1242380" y="1285876"/>
                </a:lnTo>
                <a:lnTo>
                  <a:pt x="1242062" y="1283336"/>
                </a:lnTo>
                <a:lnTo>
                  <a:pt x="1241425" y="1280478"/>
                </a:lnTo>
                <a:lnTo>
                  <a:pt x="1242062" y="1277938"/>
                </a:lnTo>
                <a:lnTo>
                  <a:pt x="1242380" y="1275081"/>
                </a:lnTo>
                <a:lnTo>
                  <a:pt x="1243017" y="1272223"/>
                </a:lnTo>
                <a:lnTo>
                  <a:pt x="1243654" y="1269683"/>
                </a:lnTo>
                <a:lnTo>
                  <a:pt x="1244927" y="1267143"/>
                </a:lnTo>
                <a:lnTo>
                  <a:pt x="1246519" y="1264603"/>
                </a:lnTo>
                <a:lnTo>
                  <a:pt x="1248111" y="1262381"/>
                </a:lnTo>
                <a:lnTo>
                  <a:pt x="1250340" y="1260158"/>
                </a:lnTo>
                <a:lnTo>
                  <a:pt x="1335030" y="1175386"/>
                </a:lnTo>
                <a:lnTo>
                  <a:pt x="1337259" y="1173163"/>
                </a:lnTo>
                <a:lnTo>
                  <a:pt x="1339806" y="1171258"/>
                </a:lnTo>
                <a:lnTo>
                  <a:pt x="1342035" y="1170306"/>
                </a:lnTo>
                <a:lnTo>
                  <a:pt x="1344582" y="1168718"/>
                </a:lnTo>
                <a:lnTo>
                  <a:pt x="1347766" y="1168083"/>
                </a:lnTo>
                <a:lnTo>
                  <a:pt x="1350313" y="1167131"/>
                </a:lnTo>
                <a:lnTo>
                  <a:pt x="1352860" y="1166813"/>
                </a:lnTo>
                <a:close/>
                <a:moveTo>
                  <a:pt x="1634223" y="1009650"/>
                </a:moveTo>
                <a:lnTo>
                  <a:pt x="1652963" y="1018533"/>
                </a:lnTo>
                <a:lnTo>
                  <a:pt x="1672339" y="1027098"/>
                </a:lnTo>
                <a:lnTo>
                  <a:pt x="1691079" y="1034712"/>
                </a:lnTo>
                <a:lnTo>
                  <a:pt x="1709819" y="1042326"/>
                </a:lnTo>
                <a:lnTo>
                  <a:pt x="1728241" y="1049939"/>
                </a:lnTo>
                <a:lnTo>
                  <a:pt x="1746663" y="1057236"/>
                </a:lnTo>
                <a:lnTo>
                  <a:pt x="1783191" y="1070560"/>
                </a:lnTo>
                <a:lnTo>
                  <a:pt x="1819083" y="1082932"/>
                </a:lnTo>
                <a:lnTo>
                  <a:pt x="1854022" y="1094670"/>
                </a:lnTo>
                <a:lnTo>
                  <a:pt x="1888325" y="1105773"/>
                </a:lnTo>
                <a:lnTo>
                  <a:pt x="1921994" y="1116242"/>
                </a:lnTo>
                <a:lnTo>
                  <a:pt x="1986155" y="1136545"/>
                </a:lnTo>
                <a:lnTo>
                  <a:pt x="2017282" y="1146379"/>
                </a:lnTo>
                <a:lnTo>
                  <a:pt x="2046821" y="1156213"/>
                </a:lnTo>
                <a:lnTo>
                  <a:pt x="2075408" y="1166682"/>
                </a:lnTo>
                <a:lnTo>
                  <a:pt x="2103042" y="1176834"/>
                </a:lnTo>
                <a:lnTo>
                  <a:pt x="2116700" y="1182544"/>
                </a:lnTo>
                <a:lnTo>
                  <a:pt x="2129722" y="1187937"/>
                </a:lnTo>
                <a:lnTo>
                  <a:pt x="2142427" y="1193965"/>
                </a:lnTo>
                <a:lnTo>
                  <a:pt x="2155132" y="1199675"/>
                </a:lnTo>
                <a:lnTo>
                  <a:pt x="2161167" y="1203164"/>
                </a:lnTo>
                <a:lnTo>
                  <a:pt x="2166885" y="1206337"/>
                </a:lnTo>
                <a:lnTo>
                  <a:pt x="2172920" y="1210461"/>
                </a:lnTo>
                <a:lnTo>
                  <a:pt x="2178319" y="1214585"/>
                </a:lnTo>
                <a:lnTo>
                  <a:pt x="2184037" y="1219026"/>
                </a:lnTo>
                <a:lnTo>
                  <a:pt x="2189119" y="1223785"/>
                </a:lnTo>
                <a:lnTo>
                  <a:pt x="2194201" y="1228861"/>
                </a:lnTo>
                <a:lnTo>
                  <a:pt x="2198965" y="1233936"/>
                </a:lnTo>
                <a:lnTo>
                  <a:pt x="2203729" y="1239647"/>
                </a:lnTo>
                <a:lnTo>
                  <a:pt x="2208494" y="1245357"/>
                </a:lnTo>
                <a:lnTo>
                  <a:pt x="2212941" y="1251384"/>
                </a:lnTo>
                <a:lnTo>
                  <a:pt x="2217387" y="1257729"/>
                </a:lnTo>
                <a:lnTo>
                  <a:pt x="2221517" y="1264391"/>
                </a:lnTo>
                <a:lnTo>
                  <a:pt x="2225646" y="1271053"/>
                </a:lnTo>
                <a:lnTo>
                  <a:pt x="2233269" y="1285011"/>
                </a:lnTo>
                <a:lnTo>
                  <a:pt x="2240257" y="1299287"/>
                </a:lnTo>
                <a:lnTo>
                  <a:pt x="2246927" y="1314832"/>
                </a:lnTo>
                <a:lnTo>
                  <a:pt x="2253279" y="1330693"/>
                </a:lnTo>
                <a:lnTo>
                  <a:pt x="2258679" y="1346555"/>
                </a:lnTo>
                <a:lnTo>
                  <a:pt x="2264079" y="1363052"/>
                </a:lnTo>
                <a:lnTo>
                  <a:pt x="2268843" y="1379865"/>
                </a:lnTo>
                <a:lnTo>
                  <a:pt x="2273290" y="1396996"/>
                </a:lnTo>
                <a:lnTo>
                  <a:pt x="2277101" y="1413809"/>
                </a:lnTo>
                <a:lnTo>
                  <a:pt x="2280595" y="1430940"/>
                </a:lnTo>
                <a:lnTo>
                  <a:pt x="2283772" y="1447754"/>
                </a:lnTo>
                <a:lnTo>
                  <a:pt x="2286948" y="1464567"/>
                </a:lnTo>
                <a:lnTo>
                  <a:pt x="2288854" y="1481381"/>
                </a:lnTo>
                <a:lnTo>
                  <a:pt x="2291077" y="1497243"/>
                </a:lnTo>
                <a:lnTo>
                  <a:pt x="2293300" y="1513104"/>
                </a:lnTo>
                <a:lnTo>
                  <a:pt x="2296477" y="1542925"/>
                </a:lnTo>
                <a:lnTo>
                  <a:pt x="2298382" y="1570207"/>
                </a:lnTo>
                <a:lnTo>
                  <a:pt x="2299653" y="1593682"/>
                </a:lnTo>
                <a:lnTo>
                  <a:pt x="2300288" y="1613351"/>
                </a:lnTo>
                <a:lnTo>
                  <a:pt x="2300288" y="1627944"/>
                </a:lnTo>
                <a:lnTo>
                  <a:pt x="2300288" y="1630799"/>
                </a:lnTo>
                <a:lnTo>
                  <a:pt x="2299653" y="1633971"/>
                </a:lnTo>
                <a:lnTo>
                  <a:pt x="2299018" y="1636827"/>
                </a:lnTo>
                <a:lnTo>
                  <a:pt x="2297430" y="1639999"/>
                </a:lnTo>
                <a:lnTo>
                  <a:pt x="2296159" y="1643171"/>
                </a:lnTo>
                <a:lnTo>
                  <a:pt x="2293936" y="1646344"/>
                </a:lnTo>
                <a:lnTo>
                  <a:pt x="2291077" y="1649199"/>
                </a:lnTo>
                <a:lnTo>
                  <a:pt x="2288536" y="1652688"/>
                </a:lnTo>
                <a:lnTo>
                  <a:pt x="2285360" y="1655544"/>
                </a:lnTo>
                <a:lnTo>
                  <a:pt x="2281548" y="1659033"/>
                </a:lnTo>
                <a:lnTo>
                  <a:pt x="2278054" y="1661888"/>
                </a:lnTo>
                <a:lnTo>
                  <a:pt x="2273608" y="1665061"/>
                </a:lnTo>
                <a:lnTo>
                  <a:pt x="2263443" y="1671405"/>
                </a:lnTo>
                <a:lnTo>
                  <a:pt x="2252644" y="1677750"/>
                </a:lnTo>
                <a:lnTo>
                  <a:pt x="2239621" y="1684095"/>
                </a:lnTo>
                <a:lnTo>
                  <a:pt x="2225328" y="1690122"/>
                </a:lnTo>
                <a:lnTo>
                  <a:pt x="2208811" y="1696150"/>
                </a:lnTo>
                <a:lnTo>
                  <a:pt x="2191660" y="1701860"/>
                </a:lnTo>
                <a:lnTo>
                  <a:pt x="2172602" y="1707888"/>
                </a:lnTo>
                <a:lnTo>
                  <a:pt x="2151639" y="1713915"/>
                </a:lnTo>
                <a:lnTo>
                  <a:pt x="2129722" y="1719308"/>
                </a:lnTo>
                <a:lnTo>
                  <a:pt x="2105900" y="1724384"/>
                </a:lnTo>
                <a:lnTo>
                  <a:pt x="2080490" y="1730094"/>
                </a:lnTo>
                <a:lnTo>
                  <a:pt x="2053809" y="1734853"/>
                </a:lnTo>
                <a:lnTo>
                  <a:pt x="2025223" y="1739611"/>
                </a:lnTo>
                <a:lnTo>
                  <a:pt x="1995048" y="1744052"/>
                </a:lnTo>
                <a:lnTo>
                  <a:pt x="1963285" y="1748494"/>
                </a:lnTo>
                <a:lnTo>
                  <a:pt x="1930252" y="1752618"/>
                </a:lnTo>
                <a:lnTo>
                  <a:pt x="1895313" y="1756107"/>
                </a:lnTo>
                <a:lnTo>
                  <a:pt x="1858786" y="1759597"/>
                </a:lnTo>
                <a:lnTo>
                  <a:pt x="1820671" y="1762452"/>
                </a:lnTo>
                <a:lnTo>
                  <a:pt x="1780967" y="1765307"/>
                </a:lnTo>
                <a:lnTo>
                  <a:pt x="1739676" y="1767528"/>
                </a:lnTo>
                <a:lnTo>
                  <a:pt x="1696478" y="1769431"/>
                </a:lnTo>
                <a:lnTo>
                  <a:pt x="1652011" y="1771335"/>
                </a:lnTo>
                <a:lnTo>
                  <a:pt x="1605955" y="1772287"/>
                </a:lnTo>
                <a:lnTo>
                  <a:pt x="1557993" y="1773238"/>
                </a:lnTo>
                <a:lnTo>
                  <a:pt x="1508125" y="1773238"/>
                </a:lnTo>
                <a:lnTo>
                  <a:pt x="1634223" y="1009650"/>
                </a:lnTo>
                <a:close/>
                <a:moveTo>
                  <a:pt x="969658" y="942975"/>
                </a:moveTo>
                <a:lnTo>
                  <a:pt x="1145815" y="1851606"/>
                </a:lnTo>
                <a:lnTo>
                  <a:pt x="1263254" y="1851606"/>
                </a:lnTo>
                <a:lnTo>
                  <a:pt x="2020888" y="1851606"/>
                </a:lnTo>
                <a:lnTo>
                  <a:pt x="2020888" y="1936750"/>
                </a:lnTo>
                <a:lnTo>
                  <a:pt x="1163907" y="1936750"/>
                </a:lnTo>
                <a:lnTo>
                  <a:pt x="194249" y="1936750"/>
                </a:lnTo>
                <a:lnTo>
                  <a:pt x="0" y="1009057"/>
                </a:lnTo>
                <a:lnTo>
                  <a:pt x="116804" y="1009057"/>
                </a:lnTo>
                <a:lnTo>
                  <a:pt x="969658" y="942975"/>
                </a:lnTo>
                <a:close/>
                <a:moveTo>
                  <a:pt x="1346346" y="0"/>
                </a:moveTo>
                <a:lnTo>
                  <a:pt x="1355566" y="0"/>
                </a:lnTo>
                <a:lnTo>
                  <a:pt x="1364786" y="0"/>
                </a:lnTo>
                <a:lnTo>
                  <a:pt x="1373688" y="317"/>
                </a:lnTo>
                <a:lnTo>
                  <a:pt x="1382908" y="952"/>
                </a:lnTo>
                <a:lnTo>
                  <a:pt x="1391810" y="1904"/>
                </a:lnTo>
                <a:lnTo>
                  <a:pt x="1400712" y="3174"/>
                </a:lnTo>
                <a:lnTo>
                  <a:pt x="1409613" y="4444"/>
                </a:lnTo>
                <a:lnTo>
                  <a:pt x="1418515" y="6348"/>
                </a:lnTo>
                <a:lnTo>
                  <a:pt x="1426782" y="8252"/>
                </a:lnTo>
                <a:lnTo>
                  <a:pt x="1435684" y="10474"/>
                </a:lnTo>
                <a:lnTo>
                  <a:pt x="1444268" y="12379"/>
                </a:lnTo>
                <a:lnTo>
                  <a:pt x="1452852" y="15236"/>
                </a:lnTo>
                <a:lnTo>
                  <a:pt x="1460800" y="18092"/>
                </a:lnTo>
                <a:lnTo>
                  <a:pt x="1469384" y="21266"/>
                </a:lnTo>
                <a:lnTo>
                  <a:pt x="1477650" y="24758"/>
                </a:lnTo>
                <a:lnTo>
                  <a:pt x="1485598" y="27932"/>
                </a:lnTo>
                <a:lnTo>
                  <a:pt x="1493228" y="31741"/>
                </a:lnTo>
                <a:lnTo>
                  <a:pt x="1501495" y="35867"/>
                </a:lnTo>
                <a:lnTo>
                  <a:pt x="1509125" y="39676"/>
                </a:lnTo>
                <a:lnTo>
                  <a:pt x="1517073" y="44120"/>
                </a:lnTo>
                <a:lnTo>
                  <a:pt x="1524385" y="48881"/>
                </a:lnTo>
                <a:lnTo>
                  <a:pt x="1531698" y="53960"/>
                </a:lnTo>
                <a:lnTo>
                  <a:pt x="1539010" y="58721"/>
                </a:lnTo>
                <a:lnTo>
                  <a:pt x="1546640" y="63800"/>
                </a:lnTo>
                <a:lnTo>
                  <a:pt x="1553635" y="69196"/>
                </a:lnTo>
                <a:lnTo>
                  <a:pt x="1560629" y="74909"/>
                </a:lnTo>
                <a:lnTo>
                  <a:pt x="1567624" y="80305"/>
                </a:lnTo>
                <a:lnTo>
                  <a:pt x="1580976" y="92684"/>
                </a:lnTo>
                <a:lnTo>
                  <a:pt x="1593694" y="105380"/>
                </a:lnTo>
                <a:lnTo>
                  <a:pt x="1606093" y="118712"/>
                </a:lnTo>
                <a:lnTo>
                  <a:pt x="1617856" y="132678"/>
                </a:lnTo>
                <a:lnTo>
                  <a:pt x="1628984" y="147596"/>
                </a:lnTo>
                <a:lnTo>
                  <a:pt x="1639157" y="162832"/>
                </a:lnTo>
                <a:lnTo>
                  <a:pt x="1649331" y="178703"/>
                </a:lnTo>
                <a:lnTo>
                  <a:pt x="1658551" y="195525"/>
                </a:lnTo>
                <a:lnTo>
                  <a:pt x="1666817" y="212348"/>
                </a:lnTo>
                <a:lnTo>
                  <a:pt x="1674765" y="229806"/>
                </a:lnTo>
                <a:lnTo>
                  <a:pt x="1682078" y="247581"/>
                </a:lnTo>
                <a:lnTo>
                  <a:pt x="1688436" y="266308"/>
                </a:lnTo>
                <a:lnTo>
                  <a:pt x="1693841" y="285036"/>
                </a:lnTo>
                <a:lnTo>
                  <a:pt x="1698610" y="304080"/>
                </a:lnTo>
                <a:lnTo>
                  <a:pt x="1700517" y="314237"/>
                </a:lnTo>
                <a:lnTo>
                  <a:pt x="1702743" y="324077"/>
                </a:lnTo>
                <a:lnTo>
                  <a:pt x="1704332" y="333917"/>
                </a:lnTo>
                <a:lnTo>
                  <a:pt x="1705604" y="344074"/>
                </a:lnTo>
                <a:lnTo>
                  <a:pt x="1706876" y="353914"/>
                </a:lnTo>
                <a:lnTo>
                  <a:pt x="1707830" y="364071"/>
                </a:lnTo>
                <a:lnTo>
                  <a:pt x="1708466" y="374546"/>
                </a:lnTo>
                <a:lnTo>
                  <a:pt x="1709419" y="385020"/>
                </a:lnTo>
                <a:lnTo>
                  <a:pt x="1709737" y="395178"/>
                </a:lnTo>
                <a:lnTo>
                  <a:pt x="1709737" y="405652"/>
                </a:lnTo>
                <a:lnTo>
                  <a:pt x="1709737" y="418031"/>
                </a:lnTo>
                <a:lnTo>
                  <a:pt x="1709101" y="431045"/>
                </a:lnTo>
                <a:lnTo>
                  <a:pt x="1708148" y="443742"/>
                </a:lnTo>
                <a:lnTo>
                  <a:pt x="1707194" y="456755"/>
                </a:lnTo>
                <a:lnTo>
                  <a:pt x="1705604" y="470087"/>
                </a:lnTo>
                <a:lnTo>
                  <a:pt x="1703697" y="482783"/>
                </a:lnTo>
                <a:lnTo>
                  <a:pt x="1702107" y="496114"/>
                </a:lnTo>
                <a:lnTo>
                  <a:pt x="1699881" y="509446"/>
                </a:lnTo>
                <a:lnTo>
                  <a:pt x="1696702" y="522777"/>
                </a:lnTo>
                <a:lnTo>
                  <a:pt x="1693841" y="536426"/>
                </a:lnTo>
                <a:lnTo>
                  <a:pt x="1690979" y="549757"/>
                </a:lnTo>
                <a:lnTo>
                  <a:pt x="1687164" y="562771"/>
                </a:lnTo>
                <a:lnTo>
                  <a:pt x="1683667" y="576420"/>
                </a:lnTo>
                <a:lnTo>
                  <a:pt x="1679534" y="589751"/>
                </a:lnTo>
                <a:lnTo>
                  <a:pt x="1675401" y="603082"/>
                </a:lnTo>
                <a:lnTo>
                  <a:pt x="1670632" y="616414"/>
                </a:lnTo>
                <a:lnTo>
                  <a:pt x="1665863" y="629745"/>
                </a:lnTo>
                <a:lnTo>
                  <a:pt x="1661094" y="642441"/>
                </a:lnTo>
                <a:lnTo>
                  <a:pt x="1655372" y="655773"/>
                </a:lnTo>
                <a:lnTo>
                  <a:pt x="1650285" y="668787"/>
                </a:lnTo>
                <a:lnTo>
                  <a:pt x="1644244" y="681166"/>
                </a:lnTo>
                <a:lnTo>
                  <a:pt x="1638521" y="693862"/>
                </a:lnTo>
                <a:lnTo>
                  <a:pt x="1632163" y="706241"/>
                </a:lnTo>
                <a:lnTo>
                  <a:pt x="1625486" y="718938"/>
                </a:lnTo>
                <a:lnTo>
                  <a:pt x="1618810" y="730682"/>
                </a:lnTo>
                <a:lnTo>
                  <a:pt x="1612133" y="742744"/>
                </a:lnTo>
                <a:lnTo>
                  <a:pt x="1605139" y="754170"/>
                </a:lnTo>
                <a:lnTo>
                  <a:pt x="1597827" y="765597"/>
                </a:lnTo>
                <a:lnTo>
                  <a:pt x="1590514" y="777024"/>
                </a:lnTo>
                <a:lnTo>
                  <a:pt x="1582566" y="787816"/>
                </a:lnTo>
                <a:lnTo>
                  <a:pt x="1574936" y="798608"/>
                </a:lnTo>
                <a:lnTo>
                  <a:pt x="1566988" y="808765"/>
                </a:lnTo>
                <a:lnTo>
                  <a:pt x="1566988" y="950966"/>
                </a:lnTo>
                <a:lnTo>
                  <a:pt x="1559357" y="959219"/>
                </a:lnTo>
                <a:lnTo>
                  <a:pt x="1539964" y="980485"/>
                </a:lnTo>
                <a:lnTo>
                  <a:pt x="1511350" y="1011274"/>
                </a:lnTo>
                <a:lnTo>
                  <a:pt x="1495136" y="1028415"/>
                </a:lnTo>
                <a:lnTo>
                  <a:pt x="1477968" y="1046190"/>
                </a:lnTo>
                <a:lnTo>
                  <a:pt x="1459846" y="1063965"/>
                </a:lnTo>
                <a:lnTo>
                  <a:pt x="1441724" y="1081105"/>
                </a:lnTo>
                <a:lnTo>
                  <a:pt x="1423920" y="1096976"/>
                </a:lnTo>
                <a:lnTo>
                  <a:pt x="1407388" y="1111576"/>
                </a:lnTo>
                <a:lnTo>
                  <a:pt x="1399122" y="1118242"/>
                </a:lnTo>
                <a:lnTo>
                  <a:pt x="1391492" y="1123638"/>
                </a:lnTo>
                <a:lnTo>
                  <a:pt x="1384179" y="1128717"/>
                </a:lnTo>
                <a:lnTo>
                  <a:pt x="1377503" y="1133160"/>
                </a:lnTo>
                <a:lnTo>
                  <a:pt x="1371144" y="1136652"/>
                </a:lnTo>
                <a:lnTo>
                  <a:pt x="1365104" y="1139191"/>
                </a:lnTo>
                <a:lnTo>
                  <a:pt x="1360017" y="1140461"/>
                </a:lnTo>
                <a:lnTo>
                  <a:pt x="1357791" y="1141096"/>
                </a:lnTo>
                <a:lnTo>
                  <a:pt x="1355566" y="1141413"/>
                </a:lnTo>
                <a:lnTo>
                  <a:pt x="1353340" y="1141096"/>
                </a:lnTo>
                <a:lnTo>
                  <a:pt x="1351115" y="1140461"/>
                </a:lnTo>
                <a:lnTo>
                  <a:pt x="1346028" y="1139191"/>
                </a:lnTo>
                <a:lnTo>
                  <a:pt x="1340305" y="1136652"/>
                </a:lnTo>
                <a:lnTo>
                  <a:pt x="1333947" y="1133160"/>
                </a:lnTo>
                <a:lnTo>
                  <a:pt x="1327270" y="1128717"/>
                </a:lnTo>
                <a:lnTo>
                  <a:pt x="1319958" y="1123638"/>
                </a:lnTo>
                <a:lnTo>
                  <a:pt x="1312010" y="1118242"/>
                </a:lnTo>
                <a:lnTo>
                  <a:pt x="1304061" y="1111576"/>
                </a:lnTo>
                <a:lnTo>
                  <a:pt x="1287211" y="1096976"/>
                </a:lnTo>
                <a:lnTo>
                  <a:pt x="1269725" y="1081105"/>
                </a:lnTo>
                <a:lnTo>
                  <a:pt x="1251603" y="1063965"/>
                </a:lnTo>
                <a:lnTo>
                  <a:pt x="1233482" y="1046190"/>
                </a:lnTo>
                <a:lnTo>
                  <a:pt x="1215996" y="1028415"/>
                </a:lnTo>
                <a:lnTo>
                  <a:pt x="1199781" y="1011274"/>
                </a:lnTo>
                <a:lnTo>
                  <a:pt x="1171486" y="980485"/>
                </a:lnTo>
                <a:lnTo>
                  <a:pt x="1151774" y="959219"/>
                </a:lnTo>
                <a:lnTo>
                  <a:pt x="1144462" y="950966"/>
                </a:lnTo>
                <a:lnTo>
                  <a:pt x="1144462" y="808765"/>
                </a:lnTo>
                <a:lnTo>
                  <a:pt x="1136196" y="798608"/>
                </a:lnTo>
                <a:lnTo>
                  <a:pt x="1128565" y="787816"/>
                </a:lnTo>
                <a:lnTo>
                  <a:pt x="1120935" y="777024"/>
                </a:lnTo>
                <a:lnTo>
                  <a:pt x="1113305" y="765597"/>
                </a:lnTo>
                <a:lnTo>
                  <a:pt x="1105993" y="754170"/>
                </a:lnTo>
                <a:lnTo>
                  <a:pt x="1098998" y="742744"/>
                </a:lnTo>
                <a:lnTo>
                  <a:pt x="1092322" y="730682"/>
                </a:lnTo>
                <a:lnTo>
                  <a:pt x="1085645" y="718938"/>
                </a:lnTo>
                <a:lnTo>
                  <a:pt x="1078969" y="706241"/>
                </a:lnTo>
                <a:lnTo>
                  <a:pt x="1072928" y="693862"/>
                </a:lnTo>
                <a:lnTo>
                  <a:pt x="1066887" y="681166"/>
                </a:lnTo>
                <a:lnTo>
                  <a:pt x="1061165" y="668787"/>
                </a:lnTo>
                <a:lnTo>
                  <a:pt x="1055442" y="655773"/>
                </a:lnTo>
                <a:lnTo>
                  <a:pt x="1050355" y="642441"/>
                </a:lnTo>
                <a:lnTo>
                  <a:pt x="1045268" y="629745"/>
                </a:lnTo>
                <a:lnTo>
                  <a:pt x="1040499" y="616414"/>
                </a:lnTo>
                <a:lnTo>
                  <a:pt x="1036048" y="603082"/>
                </a:lnTo>
                <a:lnTo>
                  <a:pt x="1031915" y="589751"/>
                </a:lnTo>
                <a:lnTo>
                  <a:pt x="1027782" y="576420"/>
                </a:lnTo>
                <a:lnTo>
                  <a:pt x="1023967" y="562771"/>
                </a:lnTo>
                <a:lnTo>
                  <a:pt x="1020470" y="549757"/>
                </a:lnTo>
                <a:lnTo>
                  <a:pt x="1016973" y="536426"/>
                </a:lnTo>
                <a:lnTo>
                  <a:pt x="1014429" y="522777"/>
                </a:lnTo>
                <a:lnTo>
                  <a:pt x="1011568" y="509446"/>
                </a:lnTo>
                <a:lnTo>
                  <a:pt x="1009343" y="496114"/>
                </a:lnTo>
                <a:lnTo>
                  <a:pt x="1007435" y="482783"/>
                </a:lnTo>
                <a:lnTo>
                  <a:pt x="1005527" y="470087"/>
                </a:lnTo>
                <a:lnTo>
                  <a:pt x="1004256" y="456755"/>
                </a:lnTo>
                <a:lnTo>
                  <a:pt x="1002984" y="443742"/>
                </a:lnTo>
                <a:lnTo>
                  <a:pt x="1002348" y="431045"/>
                </a:lnTo>
                <a:lnTo>
                  <a:pt x="1001712" y="418031"/>
                </a:lnTo>
                <a:lnTo>
                  <a:pt x="1001712" y="405652"/>
                </a:lnTo>
                <a:lnTo>
                  <a:pt x="1001712" y="395178"/>
                </a:lnTo>
                <a:lnTo>
                  <a:pt x="1002030" y="385020"/>
                </a:lnTo>
                <a:lnTo>
                  <a:pt x="1002666" y="374546"/>
                </a:lnTo>
                <a:lnTo>
                  <a:pt x="1003302" y="364071"/>
                </a:lnTo>
                <a:lnTo>
                  <a:pt x="1004574" y="353914"/>
                </a:lnTo>
                <a:lnTo>
                  <a:pt x="1005527" y="344074"/>
                </a:lnTo>
                <a:lnTo>
                  <a:pt x="1007117" y="333917"/>
                </a:lnTo>
                <a:lnTo>
                  <a:pt x="1008707" y="324077"/>
                </a:lnTo>
                <a:lnTo>
                  <a:pt x="1010296" y="314237"/>
                </a:lnTo>
                <a:lnTo>
                  <a:pt x="1012522" y="304080"/>
                </a:lnTo>
                <a:lnTo>
                  <a:pt x="1017609" y="285036"/>
                </a:lnTo>
                <a:lnTo>
                  <a:pt x="1023013" y="266308"/>
                </a:lnTo>
                <a:lnTo>
                  <a:pt x="1029372" y="247581"/>
                </a:lnTo>
                <a:lnTo>
                  <a:pt x="1036366" y="229806"/>
                </a:lnTo>
                <a:lnTo>
                  <a:pt x="1044315" y="212348"/>
                </a:lnTo>
                <a:lnTo>
                  <a:pt x="1052899" y="195525"/>
                </a:lnTo>
                <a:lnTo>
                  <a:pt x="1062119" y="178703"/>
                </a:lnTo>
                <a:lnTo>
                  <a:pt x="1071656" y="162832"/>
                </a:lnTo>
                <a:lnTo>
                  <a:pt x="1082466" y="147596"/>
                </a:lnTo>
                <a:lnTo>
                  <a:pt x="1093593" y="132678"/>
                </a:lnTo>
                <a:lnTo>
                  <a:pt x="1105357" y="118712"/>
                </a:lnTo>
                <a:lnTo>
                  <a:pt x="1117438" y="105380"/>
                </a:lnTo>
                <a:lnTo>
                  <a:pt x="1130473" y="92684"/>
                </a:lnTo>
                <a:lnTo>
                  <a:pt x="1143826" y="80305"/>
                </a:lnTo>
                <a:lnTo>
                  <a:pt x="1150820" y="74909"/>
                </a:lnTo>
                <a:lnTo>
                  <a:pt x="1157815" y="69196"/>
                </a:lnTo>
                <a:lnTo>
                  <a:pt x="1164809" y="63800"/>
                </a:lnTo>
                <a:lnTo>
                  <a:pt x="1172121" y="58721"/>
                </a:lnTo>
                <a:lnTo>
                  <a:pt x="1179434" y="53960"/>
                </a:lnTo>
                <a:lnTo>
                  <a:pt x="1187064" y="48881"/>
                </a:lnTo>
                <a:lnTo>
                  <a:pt x="1194376" y="44120"/>
                </a:lnTo>
                <a:lnTo>
                  <a:pt x="1202007" y="39676"/>
                </a:lnTo>
                <a:lnTo>
                  <a:pt x="1209955" y="35867"/>
                </a:lnTo>
                <a:lnTo>
                  <a:pt x="1217903" y="31741"/>
                </a:lnTo>
                <a:lnTo>
                  <a:pt x="1225851" y="27932"/>
                </a:lnTo>
                <a:lnTo>
                  <a:pt x="1233799" y="24758"/>
                </a:lnTo>
                <a:lnTo>
                  <a:pt x="1242066" y="21266"/>
                </a:lnTo>
                <a:lnTo>
                  <a:pt x="1250332" y="18092"/>
                </a:lnTo>
                <a:lnTo>
                  <a:pt x="1258916" y="15236"/>
                </a:lnTo>
                <a:lnTo>
                  <a:pt x="1267182" y="12379"/>
                </a:lnTo>
                <a:lnTo>
                  <a:pt x="1275766" y="10474"/>
                </a:lnTo>
                <a:lnTo>
                  <a:pt x="1284350" y="8252"/>
                </a:lnTo>
                <a:lnTo>
                  <a:pt x="1292934" y="6348"/>
                </a:lnTo>
                <a:lnTo>
                  <a:pt x="1301836" y="4444"/>
                </a:lnTo>
                <a:lnTo>
                  <a:pt x="1310738" y="3174"/>
                </a:lnTo>
                <a:lnTo>
                  <a:pt x="1319322" y="1904"/>
                </a:lnTo>
                <a:lnTo>
                  <a:pt x="1328224" y="952"/>
                </a:lnTo>
                <a:lnTo>
                  <a:pt x="1337444" y="317"/>
                </a:lnTo>
                <a:lnTo>
                  <a:pt x="134634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91" name="图片 29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230" y="2279393"/>
            <a:ext cx="206868" cy="204733"/>
          </a:xfrm>
          <a:prstGeom prst="rect">
            <a:avLst/>
          </a:prstGeom>
        </p:spPr>
      </p:pic>
      <p:sp>
        <p:nvSpPr>
          <p:cNvPr id="293" name="Rounded Rectangle 43"/>
          <p:cNvSpPr/>
          <p:nvPr/>
        </p:nvSpPr>
        <p:spPr bwMode="auto">
          <a:xfrm>
            <a:off x="5558608" y="2217868"/>
            <a:ext cx="1274678" cy="248586"/>
          </a:xfrm>
          <a:prstGeom prst="roundRect">
            <a:avLst>
              <a:gd name="adj" fmla="val 1955"/>
            </a:avLst>
          </a:prstGeom>
          <a:noFill/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25" tIns="45712" rIns="91425" bIns="45712" numCol="1" rtlCol="0" anchor="ctr" anchorCtr="1" compatLnSpc="1">
            <a:prstTxWarp prst="textNoShape">
              <a:avLst/>
            </a:prstTxWarp>
            <a:spAutoFit/>
          </a:bodyPr>
          <a:lstStyle/>
          <a:p>
            <a:pPr marL="108000" indent="-108000" algn="ctr" defTabSz="1219444" fontAlgn="base">
              <a:lnSpc>
                <a:spcPts val="200"/>
              </a:lnSpc>
              <a:spcBef>
                <a:spcPct val="0"/>
              </a:spcBef>
              <a:spcAft>
                <a:spcPts val="800"/>
              </a:spcAft>
            </a:pP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华为</a:t>
            </a:r>
            <a:r>
              <a:rPr lang="en-US" altLang="zh-CN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赛 </a:t>
            </a:r>
          </a:p>
          <a:p>
            <a:pPr marL="108000" indent="-108000" algn="ctr" defTabSz="1219444" fontAlgn="base">
              <a:lnSpc>
                <a:spcPts val="200"/>
              </a:lnSpc>
              <a:spcBef>
                <a:spcPct val="0"/>
              </a:spcBef>
              <a:spcAft>
                <a:spcPts val="800"/>
              </a:spcAft>
            </a:pP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华为</a:t>
            </a:r>
            <a:r>
              <a:rPr lang="en-US" altLang="zh-CN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人才联盟招聘会</a:t>
            </a:r>
          </a:p>
        </p:txBody>
      </p:sp>
      <p:grpSp>
        <p:nvGrpSpPr>
          <p:cNvPr id="294" name="组合 293"/>
          <p:cNvGrpSpPr/>
          <p:nvPr/>
        </p:nvGrpSpPr>
        <p:grpSpPr>
          <a:xfrm>
            <a:off x="4142127" y="4313618"/>
            <a:ext cx="1046006" cy="517224"/>
            <a:chOff x="2523796" y="3829896"/>
            <a:chExt cx="928626" cy="517224"/>
          </a:xfrm>
        </p:grpSpPr>
        <p:sp>
          <p:nvSpPr>
            <p:cNvPr id="295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2523796" y="3829896"/>
              <a:ext cx="928626" cy="33855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rtlCol="0">
              <a:spAutoFit/>
            </a:bodyPr>
            <a:lstStyle/>
            <a:p>
              <a:pPr fontAlgn="ctr"/>
              <a:r>
                <a:rPr lang="zh-CN" altLang="en-US" sz="800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华为授权培训合作伙伴 </a:t>
              </a:r>
            </a:p>
          </p:txBody>
        </p:sp>
        <p:sp>
          <p:nvSpPr>
            <p:cNvPr id="296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2541441" y="4116288"/>
              <a:ext cx="430067" cy="23083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en-US" altLang="zh-CN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100+</a:t>
              </a:r>
            </a:p>
          </p:txBody>
        </p:sp>
      </p:grpSp>
      <p:grpSp>
        <p:nvGrpSpPr>
          <p:cNvPr id="297" name="组合 296"/>
          <p:cNvGrpSpPr/>
          <p:nvPr/>
        </p:nvGrpSpPr>
        <p:grpSpPr>
          <a:xfrm>
            <a:off x="2949783" y="4358524"/>
            <a:ext cx="548548" cy="399237"/>
            <a:chOff x="1180948" y="4018185"/>
            <a:chExt cx="548548" cy="399237"/>
          </a:xfrm>
        </p:grpSpPr>
        <p:sp>
          <p:nvSpPr>
            <p:cNvPr id="298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180948" y="4186590"/>
              <a:ext cx="484428" cy="23083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en-US" altLang="zh-CN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600+</a:t>
              </a:r>
            </a:p>
          </p:txBody>
        </p:sp>
        <p:sp>
          <p:nvSpPr>
            <p:cNvPr id="299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180948" y="4018185"/>
              <a:ext cx="548548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en-US" altLang="zh-CN" sz="800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ICT</a:t>
              </a:r>
              <a:r>
                <a:rPr lang="zh-CN" altLang="en-US" sz="800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学院</a:t>
              </a:r>
            </a:p>
          </p:txBody>
        </p:sp>
      </p:grpSp>
      <p:grpSp>
        <p:nvGrpSpPr>
          <p:cNvPr id="300" name="组合 299"/>
          <p:cNvGrpSpPr/>
          <p:nvPr/>
        </p:nvGrpSpPr>
        <p:grpSpPr>
          <a:xfrm>
            <a:off x="5704313" y="4335006"/>
            <a:ext cx="902811" cy="407803"/>
            <a:chOff x="4089148" y="4018185"/>
            <a:chExt cx="902811" cy="407803"/>
          </a:xfrm>
        </p:grpSpPr>
        <p:sp>
          <p:nvSpPr>
            <p:cNvPr id="301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089148" y="4018185"/>
              <a:ext cx="902811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zh-CN" altLang="en-US" sz="80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接受培训的学生</a:t>
              </a:r>
            </a:p>
          </p:txBody>
        </p:sp>
        <p:sp>
          <p:nvSpPr>
            <p:cNvPr id="302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089148" y="4195156"/>
              <a:ext cx="732893" cy="23083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en-US" altLang="zh-CN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4.5</a:t>
              </a:r>
              <a:r>
                <a:rPr lang="zh-CN" altLang="en-US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万</a:t>
              </a:r>
              <a:r>
                <a:rPr lang="en-US" altLang="zh-CN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+/</a:t>
              </a:r>
              <a:r>
                <a:rPr lang="zh-CN" altLang="en-US" sz="900" b="1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年</a:t>
              </a:r>
            </a:p>
          </p:txBody>
        </p:sp>
      </p:grpSp>
      <p:grpSp>
        <p:nvGrpSpPr>
          <p:cNvPr id="303" name="组合 302"/>
          <p:cNvGrpSpPr/>
          <p:nvPr/>
        </p:nvGrpSpPr>
        <p:grpSpPr>
          <a:xfrm>
            <a:off x="761793" y="4227483"/>
            <a:ext cx="1600407" cy="782667"/>
            <a:chOff x="5673951" y="4024811"/>
            <a:chExt cx="1221013" cy="782667"/>
          </a:xfrm>
        </p:grpSpPr>
        <p:sp>
          <p:nvSpPr>
            <p:cNvPr id="304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5673951" y="4191925"/>
              <a:ext cx="1221013" cy="615553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rtlCol="0">
              <a:spAutoFit/>
            </a:bodyPr>
            <a:lstStyle/>
            <a:p>
              <a:pPr fontAlgn="ctr"/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83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个认证考试，</a:t>
              </a:r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18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个技术领域</a:t>
              </a:r>
            </a:p>
            <a:p>
              <a:pPr fontAlgn="ctr"/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超过</a:t>
              </a:r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13</a:t>
              </a:r>
              <a:r>
                <a:rPr lang="zh-CN" altLang="en-US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万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名认证专业人士</a:t>
              </a:r>
            </a:p>
          </p:txBody>
        </p:sp>
        <p:sp>
          <p:nvSpPr>
            <p:cNvPr id="305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5673952" y="4024811"/>
              <a:ext cx="453975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zh-CN" altLang="en-US" sz="800" b="1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华为认证</a:t>
              </a:r>
            </a:p>
          </p:txBody>
        </p:sp>
      </p:grpSp>
      <p:grpSp>
        <p:nvGrpSpPr>
          <p:cNvPr id="306" name="组合 305"/>
          <p:cNvGrpSpPr/>
          <p:nvPr/>
        </p:nvGrpSpPr>
        <p:grpSpPr>
          <a:xfrm>
            <a:off x="7192832" y="4285410"/>
            <a:ext cx="1341572" cy="545432"/>
            <a:chOff x="7280768" y="4018185"/>
            <a:chExt cx="1239817" cy="545432"/>
          </a:xfrm>
        </p:grpSpPr>
        <p:sp>
          <p:nvSpPr>
            <p:cNvPr id="307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7280769" y="4194285"/>
              <a:ext cx="1239816" cy="36933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rtlCol="0">
              <a:spAutoFit/>
            </a:bodyPr>
            <a:lstStyle/>
            <a:p>
              <a:pPr fontAlgn="ctr"/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60+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国家、</a:t>
              </a:r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1600+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高校、</a:t>
              </a:r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10</a:t>
              </a:r>
              <a:r>
                <a:rPr lang="zh-CN" altLang="en-US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万</a:t>
              </a:r>
              <a:r>
                <a:rPr lang="en-US" altLang="zh-CN" sz="900" b="1" dirty="0">
                  <a:solidFill>
                    <a:srgbClr val="FAA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+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Arial" pitchFamily="34" charset="0"/>
                </a:rPr>
                <a:t>学员</a:t>
              </a:r>
            </a:p>
          </p:txBody>
        </p:sp>
        <p:sp>
          <p:nvSpPr>
            <p:cNvPr id="308" name="Rectangle 19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7280768" y="4018185"/>
              <a:ext cx="980996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rtlCol="0">
              <a:spAutoFit/>
            </a:bodyPr>
            <a:lstStyle/>
            <a:p>
              <a:pPr fontAlgn="ctr"/>
              <a:r>
                <a:rPr lang="zh-CN" altLang="en-US" sz="800" b="1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第四届华为</a:t>
              </a:r>
              <a:r>
                <a:rPr lang="en-US" altLang="zh-CN" sz="800" b="1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ICT</a:t>
              </a:r>
              <a:r>
                <a:rPr lang="zh-CN" altLang="en-US" sz="800" b="1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itchFamily="34" charset="0"/>
                </a:rPr>
                <a:t>大赛</a:t>
              </a:r>
            </a:p>
          </p:txBody>
        </p:sp>
      </p:grpSp>
      <p:grpSp>
        <p:nvGrpSpPr>
          <p:cNvPr id="309" name="组合 308"/>
          <p:cNvGrpSpPr/>
          <p:nvPr/>
        </p:nvGrpSpPr>
        <p:grpSpPr>
          <a:xfrm>
            <a:off x="3343004" y="2889614"/>
            <a:ext cx="1782234" cy="692810"/>
            <a:chOff x="3705828" y="2670292"/>
            <a:chExt cx="1562617" cy="607438"/>
          </a:xfrm>
        </p:grpSpPr>
        <p:sp>
          <p:nvSpPr>
            <p:cNvPr id="310" name="矩形 309">
              <a:hlinkClick r:id="" action="ppaction://noaction"/>
            </p:cNvPr>
            <p:cNvSpPr/>
            <p:nvPr/>
          </p:nvSpPr>
          <p:spPr bwMode="auto">
            <a:xfrm>
              <a:off x="3817804" y="2714131"/>
              <a:ext cx="1328646" cy="515901"/>
            </a:xfrm>
            <a:prstGeom prst="rect">
              <a:avLst/>
            </a:prstGeom>
            <a:gradFill flip="none" rotWithShape="1">
              <a:gsLst>
                <a:gs pos="100000">
                  <a:schemeClr val="bg1">
                    <a:lumMod val="75000"/>
                    <a:alpha val="48000"/>
                  </a:schemeClr>
                </a:gs>
                <a:gs pos="34000">
                  <a:schemeClr val="bg1">
                    <a:lumMod val="65000"/>
                    <a:alpha val="0"/>
                  </a:schemeClr>
                </a:gs>
                <a:gs pos="100000">
                  <a:schemeClr val="bg1">
                    <a:lumMod val="65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>
              <a:gradFill>
                <a:gsLst>
                  <a:gs pos="74000">
                    <a:schemeClr val="bg1">
                      <a:lumMod val="85000"/>
                    </a:schemeClr>
                  </a:gs>
                  <a:gs pos="67000">
                    <a:srgbClr val="B2B2B2"/>
                  </a:gs>
                  <a:gs pos="69000">
                    <a:schemeClr val="bg2">
                      <a:lumMod val="75000"/>
                    </a:schemeClr>
                  </a:gs>
                  <a:gs pos="82001">
                    <a:srgbClr val="777777"/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miter lim="800000"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444" fontAlgn="ctr">
                <a:lnSpc>
                  <a:spcPts val="15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defRPr/>
              </a:pPr>
              <a:endParaRPr lang="en-US" altLang="zh-CN" sz="7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endParaRPr>
            </a:p>
          </p:txBody>
        </p:sp>
        <p:sp>
          <p:nvSpPr>
            <p:cNvPr id="311" name="矩形 310"/>
            <p:cNvSpPr/>
            <p:nvPr/>
          </p:nvSpPr>
          <p:spPr>
            <a:xfrm>
              <a:off x="3748857" y="2675122"/>
              <a:ext cx="1466540" cy="593919"/>
            </a:xfrm>
            <a:prstGeom prst="rect">
              <a:avLst/>
            </a:prstGeom>
            <a:noFill/>
            <a:ln w="6350">
              <a:gradFill>
                <a:gsLst>
                  <a:gs pos="74000">
                    <a:schemeClr val="bg1">
                      <a:lumMod val="85000"/>
                    </a:schemeClr>
                  </a:gs>
                  <a:gs pos="67000">
                    <a:srgbClr val="B2B2B2"/>
                  </a:gs>
                  <a:gs pos="69000">
                    <a:schemeClr val="bg2">
                      <a:lumMod val="75000"/>
                    </a:schemeClr>
                  </a:gs>
                  <a:gs pos="82001">
                    <a:srgbClr val="777777"/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miter lim="800000"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444" fontAlgn="ctr">
                <a:lnSpc>
                  <a:spcPts val="1500"/>
                </a:lnSpc>
                <a:buClr>
                  <a:srgbClr val="CC9900"/>
                </a:buClr>
                <a:defRPr/>
              </a:pPr>
              <a:endParaRPr lang="zh-CN" altLang="en-US" sz="7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  <a:sym typeface="Arial"/>
              </a:endParaRPr>
            </a:p>
          </p:txBody>
        </p:sp>
        <p:grpSp>
          <p:nvGrpSpPr>
            <p:cNvPr id="312" name="组合 311"/>
            <p:cNvGrpSpPr/>
            <p:nvPr/>
          </p:nvGrpSpPr>
          <p:grpSpPr>
            <a:xfrm>
              <a:off x="3741895" y="2670292"/>
              <a:ext cx="1484719" cy="607438"/>
              <a:chOff x="3741895" y="2544160"/>
              <a:chExt cx="1484719" cy="607438"/>
            </a:xfrm>
            <a:solidFill>
              <a:srgbClr val="0070C4"/>
            </a:solidFill>
          </p:grpSpPr>
          <p:sp>
            <p:nvSpPr>
              <p:cNvPr id="315" name="半闭框 314"/>
              <p:cNvSpPr/>
              <p:nvPr/>
            </p:nvSpPr>
            <p:spPr>
              <a:xfrm>
                <a:off x="3741895" y="2544160"/>
                <a:ext cx="119692" cy="95931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316" name="半闭框 315"/>
              <p:cNvSpPr/>
              <p:nvPr/>
            </p:nvSpPr>
            <p:spPr>
              <a:xfrm rot="5400000">
                <a:off x="5118802" y="2532280"/>
                <a:ext cx="95931" cy="119692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317" name="半闭框 316"/>
              <p:cNvSpPr/>
              <p:nvPr/>
            </p:nvSpPr>
            <p:spPr>
              <a:xfrm rot="16200000">
                <a:off x="3753776" y="3043786"/>
                <a:ext cx="95931" cy="119692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  <p:sp>
            <p:nvSpPr>
              <p:cNvPr id="318" name="半闭框 317"/>
              <p:cNvSpPr/>
              <p:nvPr/>
            </p:nvSpPr>
            <p:spPr>
              <a:xfrm rot="10800000">
                <a:off x="5106922" y="3055667"/>
                <a:ext cx="119692" cy="95931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4" indent="-228600" algn="ctr" defTabSz="2560411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Pct val="80000"/>
                  <a:buFont typeface="Wingdings" pitchFamily="2" charset="2"/>
                  <a:buChar char="n"/>
                  <a:defRPr/>
                </a:pPr>
                <a:endParaRPr lang="zh-CN" altLang="en-US" noProof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itchFamily="34" charset="-122"/>
                </a:endParaRPr>
              </a:p>
            </p:txBody>
          </p:sp>
        </p:grpSp>
        <p:sp>
          <p:nvSpPr>
            <p:cNvPr id="313" name="Rounded Rectangle 43"/>
            <p:cNvSpPr/>
            <p:nvPr/>
          </p:nvSpPr>
          <p:spPr bwMode="auto">
            <a:xfrm>
              <a:off x="3705828" y="2770374"/>
              <a:ext cx="1562617" cy="224780"/>
            </a:xfrm>
            <a:prstGeom prst="roundRect">
              <a:avLst>
                <a:gd name="adj" fmla="val 1955"/>
              </a:avLst>
            </a:prstGeom>
          </p:spPr>
          <p:txBody>
            <a:bodyPr wrap="square" anchor="ctr">
              <a:spAutoFit/>
            </a:bodyPr>
            <a:lstStyle/>
            <a:p>
              <a:pPr marL="108000" indent="-108000" algn="ctr" defTabSz="1219444"/>
              <a:r>
                <a:rPr lang="zh-CN" altLang="en-US" sz="1050" b="1">
                  <a:solidFill>
                    <a:srgbClr val="0070C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Gill Sans" pitchFamily="-84" charset="0"/>
                </a:rPr>
                <a:t>人才标准设置</a:t>
              </a:r>
            </a:p>
          </p:txBody>
        </p:sp>
        <p:sp>
          <p:nvSpPr>
            <p:cNvPr id="314" name="Rounded Rectangle 43"/>
            <p:cNvSpPr/>
            <p:nvPr/>
          </p:nvSpPr>
          <p:spPr bwMode="auto">
            <a:xfrm>
              <a:off x="4222221" y="3040698"/>
              <a:ext cx="521684" cy="104429"/>
            </a:xfrm>
            <a:prstGeom prst="roundRect">
              <a:avLst>
                <a:gd name="adj" fmla="val 1955"/>
              </a:avLst>
            </a:prstGeom>
            <a:noFill/>
            <a:ln w="9525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25" tIns="45712" rIns="91425" bIns="45712" numCol="1" rtlCol="0" anchor="ctr" anchorCtr="1" compatLnSpc="1">
              <a:prstTxWarp prst="textNoShape">
                <a:avLst/>
              </a:prstTxWarp>
              <a:spAutoFit/>
            </a:bodyPr>
            <a:lstStyle/>
            <a:p>
              <a:pPr marL="108000" indent="-108000" algn="ctr" defTabSz="1219444" fontAlgn="base">
                <a:lnSpc>
                  <a:spcPts val="2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zh-CN" altLang="en-US" sz="8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  <a:sym typeface="Gill Sans" pitchFamily="-84" charset="0"/>
                </a:rPr>
                <a:t>华为认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3093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"/>
          <p:cNvSpPr txBox="1">
            <a:spLocks/>
          </p:cNvSpPr>
          <p:nvPr/>
        </p:nvSpPr>
        <p:spPr>
          <a:xfrm>
            <a:off x="250200" y="614556"/>
            <a:ext cx="8686800" cy="5296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342900" lvl="1" indent="-342900" defTabSz="1219444">
              <a:lnSpc>
                <a:spcPct val="130000"/>
              </a:lnSpc>
              <a:defRPr/>
            </a:pP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合作：</a:t>
            </a: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RCY &amp;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华为</a:t>
            </a: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CT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学院</a:t>
            </a:r>
          </a:p>
        </p:txBody>
      </p:sp>
      <p:sp>
        <p:nvSpPr>
          <p:cNvPr id="42" name="TextBox 115"/>
          <p:cNvSpPr txBox="1"/>
          <p:nvPr/>
        </p:nvSpPr>
        <p:spPr>
          <a:xfrm>
            <a:off x="382353" y="1158545"/>
            <a:ext cx="6477000" cy="279218"/>
          </a:xfrm>
          <a:prstGeom prst="rect">
            <a:avLst/>
          </a:prstGeom>
          <a:noFill/>
          <a:ln>
            <a:noFill/>
          </a:ln>
        </p:spPr>
        <p:txBody>
          <a:bodyPr wrap="square" lIns="0" tIns="54439" rIns="0" bIns="54439" rtlCol="0">
            <a:spAutoFit/>
          </a:bodyPr>
          <a:lstStyle/>
          <a:p>
            <a:pPr defTabSz="1219444">
              <a:spcBef>
                <a:spcPts val="600"/>
              </a:spcBef>
            </a:pP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战略与目标：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发展本地</a:t>
            </a: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能力，将</a:t>
            </a: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知识和全球经验传递给延布皇家委员会，支撑</a:t>
            </a: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30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愿景落地。</a:t>
            </a:r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355" y="1524120"/>
            <a:ext cx="3677230" cy="1267200"/>
          </a:xfrm>
          <a:prstGeom prst="rect">
            <a:avLst/>
          </a:prstGeom>
          <a:noFill/>
          <a:ln w="28575">
            <a:solidFill>
              <a:srgbClr val="BCA300"/>
            </a:solidFill>
            <a:miter lim="800000"/>
            <a:headEnd/>
            <a:tailEnd/>
          </a:ln>
          <a:effectLst/>
        </p:spPr>
      </p:pic>
      <p:grpSp>
        <p:nvGrpSpPr>
          <p:cNvPr id="125" name="Group 264"/>
          <p:cNvGrpSpPr/>
          <p:nvPr/>
        </p:nvGrpSpPr>
        <p:grpSpPr>
          <a:xfrm>
            <a:off x="4765859" y="1523550"/>
            <a:ext cx="3962400" cy="1277705"/>
            <a:chOff x="6019800" y="1258230"/>
            <a:chExt cx="2057400" cy="1484970"/>
          </a:xfrm>
        </p:grpSpPr>
        <p:grpSp>
          <p:nvGrpSpPr>
            <p:cNvPr id="127" name="Group 198"/>
            <p:cNvGrpSpPr/>
            <p:nvPr/>
          </p:nvGrpSpPr>
          <p:grpSpPr>
            <a:xfrm>
              <a:off x="6019800" y="1295400"/>
              <a:ext cx="2057400" cy="1447800"/>
              <a:chOff x="381000" y="2209800"/>
              <a:chExt cx="6356838" cy="3886200"/>
            </a:xfrm>
          </p:grpSpPr>
          <p:sp>
            <p:nvSpPr>
              <p:cNvPr id="129" name="Rectangle 138"/>
              <p:cNvSpPr>
                <a:spLocks noChangeArrowheads="1"/>
              </p:cNvSpPr>
              <p:nvPr/>
            </p:nvSpPr>
            <p:spPr bwMode="auto">
              <a:xfrm>
                <a:off x="381000" y="3344863"/>
                <a:ext cx="3856037" cy="885825"/>
              </a:xfrm>
              <a:prstGeom prst="rect">
                <a:avLst/>
              </a:prstGeom>
              <a:solidFill>
                <a:srgbClr val="3366FF">
                  <a:alpha val="32941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1219444">
                  <a:defRPr/>
                </a:pPr>
                <a:endParaRPr lang="zh-CN" alt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30" name="Rectangle 139"/>
              <p:cNvSpPr>
                <a:spLocks noChangeArrowheads="1"/>
              </p:cNvSpPr>
              <p:nvPr/>
            </p:nvSpPr>
            <p:spPr bwMode="auto">
              <a:xfrm>
                <a:off x="381000" y="5210175"/>
                <a:ext cx="3856037" cy="885825"/>
              </a:xfrm>
              <a:prstGeom prst="rect">
                <a:avLst/>
              </a:prstGeom>
              <a:solidFill>
                <a:srgbClr val="00CCFF">
                  <a:alpha val="32941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1219444">
                  <a:defRPr/>
                </a:pPr>
                <a:endParaRPr lang="zh-CN" alt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31" name="Rectangle 140"/>
              <p:cNvSpPr>
                <a:spLocks noChangeArrowheads="1"/>
              </p:cNvSpPr>
              <p:nvPr/>
            </p:nvSpPr>
            <p:spPr bwMode="auto">
              <a:xfrm>
                <a:off x="381000" y="4281488"/>
                <a:ext cx="3856037" cy="885825"/>
              </a:xfrm>
              <a:prstGeom prst="rect">
                <a:avLst/>
              </a:prstGeom>
              <a:solidFill>
                <a:srgbClr val="008080">
                  <a:alpha val="32941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1219444">
                  <a:defRPr/>
                </a:pPr>
                <a:endParaRPr lang="zh-CN" alt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pic>
            <p:nvPicPr>
              <p:cNvPr id="132" name="Picture 4" descr="BC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1050" y="5241925"/>
                <a:ext cx="685800" cy="8334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3" name="Picture 6" descr="server_small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28800" y="5241925"/>
                <a:ext cx="835025" cy="774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4" name="Picture 8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3071812" y="5313363"/>
                <a:ext cx="606425" cy="298450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</p:pic>
          <p:grpSp>
            <p:nvGrpSpPr>
              <p:cNvPr id="135" name="Group 205"/>
              <p:cNvGrpSpPr>
                <a:grpSpLocks/>
              </p:cNvGrpSpPr>
              <p:nvPr/>
            </p:nvGrpSpPr>
            <p:grpSpPr bwMode="auto">
              <a:xfrm>
                <a:off x="3116262" y="5630863"/>
                <a:ext cx="376238" cy="274637"/>
                <a:chOff x="4398" y="3261"/>
                <a:chExt cx="205" cy="135"/>
              </a:xfrm>
            </p:grpSpPr>
            <p:pic>
              <p:nvPicPr>
                <p:cNvPr id="191" name="Picture 11"/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-133" b="-124"/>
                <a:stretch>
                  <a:fillRect/>
                </a:stretch>
              </p:blipFill>
              <p:spPr bwMode="auto">
                <a:xfrm>
                  <a:off x="4475" y="3286"/>
                  <a:ext cx="128" cy="110"/>
                </a:xfrm>
                <a:prstGeom prst="rect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</p:pic>
            <p:pic>
              <p:nvPicPr>
                <p:cNvPr id="192" name="Picture 12"/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-133" b="-124"/>
                <a:stretch>
                  <a:fillRect/>
                </a:stretch>
              </p:blipFill>
              <p:spPr bwMode="auto">
                <a:xfrm>
                  <a:off x="4398" y="3261"/>
                  <a:ext cx="128" cy="110"/>
                </a:xfrm>
                <a:prstGeom prst="rect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</p:pic>
          </p:grpSp>
          <p:sp>
            <p:nvSpPr>
              <p:cNvPr id="136" name="Line 150"/>
              <p:cNvSpPr>
                <a:spLocks noChangeShapeType="1"/>
              </p:cNvSpPr>
              <p:nvPr/>
            </p:nvSpPr>
            <p:spPr bwMode="auto">
              <a:xfrm flipV="1">
                <a:off x="390525" y="5187950"/>
                <a:ext cx="4670425" cy="14288"/>
              </a:xfrm>
              <a:prstGeom prst="line">
                <a:avLst/>
              </a:prstGeom>
              <a:noFill/>
              <a:ln w="12700">
                <a:solidFill>
                  <a:srgbClr val="3333FF"/>
                </a:solidFill>
                <a:prstDash val="lgDash"/>
                <a:round/>
                <a:headEnd/>
                <a:tailEnd/>
              </a:ln>
            </p:spPr>
            <p:txBody>
              <a:bodyPr/>
              <a:lstStyle/>
              <a:p>
                <a:pPr defTabSz="1219444"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37" name="Line 157"/>
              <p:cNvSpPr>
                <a:spLocks noChangeShapeType="1"/>
              </p:cNvSpPr>
              <p:nvPr/>
            </p:nvSpPr>
            <p:spPr bwMode="auto">
              <a:xfrm flipV="1">
                <a:off x="384175" y="4246563"/>
                <a:ext cx="4694237" cy="12700"/>
              </a:xfrm>
              <a:prstGeom prst="line">
                <a:avLst/>
              </a:prstGeom>
              <a:noFill/>
              <a:ln w="12700">
                <a:solidFill>
                  <a:srgbClr val="3333FF"/>
                </a:solidFill>
                <a:prstDash val="lgDash"/>
                <a:round/>
                <a:headEnd/>
                <a:tailEnd/>
              </a:ln>
            </p:spPr>
            <p:txBody>
              <a:bodyPr/>
              <a:lstStyle/>
              <a:p>
                <a:pPr defTabSz="1219444"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pic>
            <p:nvPicPr>
              <p:cNvPr id="138" name="Picture 113" descr="screen_windows"/>
              <p:cNvPicPr preferRelativeResize="0">
                <a:picLocks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0412" y="3602038"/>
                <a:ext cx="382588" cy="374650"/>
              </a:xfrm>
              <a:prstGeom prst="rect">
                <a:avLst/>
              </a:prstGeom>
              <a:noFill/>
              <a:ln w="6350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pic>
            <p:nvPicPr>
              <p:cNvPr id="139" name="Picture 113" descr="screen_windows"/>
              <p:cNvPicPr preferRelativeResize="0">
                <a:picLocks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9050" y="3602038"/>
                <a:ext cx="384175" cy="374650"/>
              </a:xfrm>
              <a:prstGeom prst="rect">
                <a:avLst/>
              </a:prstGeom>
              <a:noFill/>
              <a:ln w="6350" algn="ctr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sp>
            <p:nvSpPr>
              <p:cNvPr id="140" name="Line 160"/>
              <p:cNvSpPr>
                <a:spLocks noChangeShapeType="1"/>
              </p:cNvSpPr>
              <p:nvPr/>
            </p:nvSpPr>
            <p:spPr bwMode="auto">
              <a:xfrm>
                <a:off x="395287" y="3311525"/>
                <a:ext cx="6107113" cy="17463"/>
              </a:xfrm>
              <a:prstGeom prst="line">
                <a:avLst/>
              </a:prstGeom>
              <a:noFill/>
              <a:ln w="12700">
                <a:solidFill>
                  <a:srgbClr val="3333FF"/>
                </a:solidFill>
                <a:prstDash val="lgDash"/>
                <a:round/>
                <a:headEnd/>
                <a:tailEnd/>
              </a:ln>
            </p:spPr>
            <p:txBody>
              <a:bodyPr/>
              <a:lstStyle/>
              <a:p>
                <a:pPr defTabSz="1219444"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pic>
            <p:nvPicPr>
              <p:cNvPr id="141" name="Picture 161" descr="075"/>
              <p:cNvPicPr>
                <a:picLocks noChangeAspect="1" noChangeArrowheads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1837" y="2600325"/>
                <a:ext cx="547688" cy="53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2" name="Picture 163" descr="111"/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01837" y="2633663"/>
                <a:ext cx="476250" cy="466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3" name="Picture 164" descr="3D_34"/>
              <p:cNvPicPr>
                <a:picLocks noChangeAspect="1" noChangeArrowheads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2225" y="2635250"/>
                <a:ext cx="357187" cy="4635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4" name="Picture 165" descr="3D_30"/>
              <p:cNvPicPr>
                <a:picLocks noChangeAspect="1" noChangeArrowheads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05137" y="2559050"/>
                <a:ext cx="450850" cy="530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5" name="Picture 12" descr="Wyse Vista Desktop"/>
              <p:cNvPicPr>
                <a:picLocks noChangeAspect="1" noChangeArrowheads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2075" y="2638425"/>
                <a:ext cx="554037" cy="4587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6" name="Rectangle 263"/>
              <p:cNvSpPr>
                <a:spLocks noChangeArrowheads="1"/>
              </p:cNvSpPr>
              <p:nvPr/>
            </p:nvSpPr>
            <p:spPr bwMode="auto">
              <a:xfrm>
                <a:off x="1579563" y="2209800"/>
                <a:ext cx="1376362" cy="5280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1219444">
                  <a:spcBef>
                    <a:spcPct val="50000"/>
                  </a:spcBef>
                  <a:defRPr/>
                </a:pP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客户端</a:t>
                </a:r>
              </a:p>
            </p:txBody>
          </p:sp>
          <p:sp>
            <p:nvSpPr>
              <p:cNvPr id="147" name="Rectangle 264"/>
              <p:cNvSpPr>
                <a:spLocks noChangeArrowheads="1"/>
              </p:cNvSpPr>
              <p:nvPr/>
            </p:nvSpPr>
            <p:spPr bwMode="auto">
              <a:xfrm>
                <a:off x="4424365" y="3256366"/>
                <a:ext cx="1868728" cy="5280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defTabSz="1219444">
                  <a:spcBef>
                    <a:spcPct val="50000"/>
                  </a:spcBef>
                  <a:defRPr/>
                </a:pP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桌面</a:t>
                </a:r>
                <a:r>
                  <a:rPr lang="en-US" altLang="zh-CN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&amp;</a:t>
                </a: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会话管理</a:t>
                </a:r>
              </a:p>
            </p:txBody>
          </p:sp>
          <p:sp>
            <p:nvSpPr>
              <p:cNvPr id="148" name="Rectangle 265"/>
              <p:cNvSpPr>
                <a:spLocks noChangeArrowheads="1"/>
              </p:cNvSpPr>
              <p:nvPr/>
            </p:nvSpPr>
            <p:spPr bwMode="auto">
              <a:xfrm>
                <a:off x="4424365" y="4570418"/>
                <a:ext cx="2313473" cy="5280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defTabSz="1219444">
                  <a:spcBef>
                    <a:spcPct val="50000"/>
                  </a:spcBef>
                  <a:defRPr/>
                </a:pP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虚拟化</a:t>
                </a:r>
                <a:r>
                  <a:rPr lang="en-US" altLang="zh-CN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&amp;</a:t>
                </a: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云操作系统</a:t>
                </a:r>
              </a:p>
            </p:txBody>
          </p:sp>
          <p:sp>
            <p:nvSpPr>
              <p:cNvPr id="149" name="Rectangle 266"/>
              <p:cNvSpPr>
                <a:spLocks noChangeArrowheads="1"/>
              </p:cNvSpPr>
              <p:nvPr/>
            </p:nvSpPr>
            <p:spPr bwMode="auto">
              <a:xfrm>
                <a:off x="4441823" y="5375274"/>
                <a:ext cx="1851270" cy="5280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defTabSz="1219444">
                  <a:spcBef>
                    <a:spcPct val="50000"/>
                  </a:spcBef>
                  <a:defRPr/>
                </a:pPr>
                <a:r>
                  <a:rPr lang="zh-CN" altLang="en-US" sz="500" b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硬件资源</a:t>
                </a:r>
              </a:p>
            </p:txBody>
          </p:sp>
          <p:pic>
            <p:nvPicPr>
              <p:cNvPr id="150" name="Picture 113" descr="screen_windows"/>
              <p:cNvPicPr preferRelativeResize="0">
                <a:picLocks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17687" y="3602038"/>
                <a:ext cx="384175" cy="374650"/>
              </a:xfrm>
              <a:prstGeom prst="rect">
                <a:avLst/>
              </a:prstGeom>
              <a:noFill/>
              <a:ln w="6350" algn="ctr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pic>
            <p:nvPicPr>
              <p:cNvPr id="151" name="Picture 113" descr="screen_windows"/>
              <p:cNvPicPr preferRelativeResize="0">
                <a:picLocks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47912" y="3602038"/>
                <a:ext cx="384175" cy="374650"/>
              </a:xfrm>
              <a:prstGeom prst="rect">
                <a:avLst/>
              </a:prstGeom>
              <a:noFill/>
              <a:ln w="6350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pic>
            <p:nvPicPr>
              <p:cNvPr id="152" name="Picture 269" descr="2009416858690577"/>
              <p:cNvPicPr preferRelativeResize="0">
                <a:picLocks noChangeArrowheads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76550" y="3602038"/>
                <a:ext cx="384175" cy="374650"/>
              </a:xfrm>
              <a:prstGeom prst="rect">
                <a:avLst/>
              </a:prstGeom>
              <a:noFill/>
              <a:ln w="6350" algn="ctr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pic>
            <p:nvPicPr>
              <p:cNvPr id="153" name="Picture 270" descr="20093141335665752"/>
              <p:cNvPicPr preferRelativeResize="0">
                <a:picLocks noChangeArrowheads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06775" y="3602038"/>
                <a:ext cx="384175" cy="374650"/>
              </a:xfrm>
              <a:prstGeom prst="rect">
                <a:avLst/>
              </a:prstGeom>
              <a:noFill/>
              <a:ln w="6350" algn="ctr">
                <a:solidFill>
                  <a:srgbClr val="CCCCCC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</p:pic>
          <p:grpSp>
            <p:nvGrpSpPr>
              <p:cNvPr id="154" name="Group 101"/>
              <p:cNvGrpSpPr>
                <a:grpSpLocks/>
              </p:cNvGrpSpPr>
              <p:nvPr/>
            </p:nvGrpSpPr>
            <p:grpSpPr bwMode="auto">
              <a:xfrm>
                <a:off x="542925" y="4356100"/>
                <a:ext cx="3527425" cy="760413"/>
                <a:chOff x="3348038" y="4539039"/>
                <a:chExt cx="4721225" cy="1379161"/>
              </a:xfrm>
            </p:grpSpPr>
            <p:grpSp>
              <p:nvGrpSpPr>
                <p:cNvPr id="161" name="Group 53"/>
                <p:cNvGrpSpPr>
                  <a:grpSpLocks/>
                </p:cNvGrpSpPr>
                <p:nvPr/>
              </p:nvGrpSpPr>
              <p:grpSpPr bwMode="auto">
                <a:xfrm>
                  <a:off x="3348033" y="5288032"/>
                  <a:ext cx="4721224" cy="630249"/>
                  <a:chOff x="3299249" y="5115726"/>
                  <a:chExt cx="4720282" cy="729060"/>
                </a:xfrm>
              </p:grpSpPr>
              <p:grpSp>
                <p:nvGrpSpPr>
                  <p:cNvPr id="164" name="Group 38"/>
                  <p:cNvGrpSpPr>
                    <a:grpSpLocks/>
                  </p:cNvGrpSpPr>
                  <p:nvPr/>
                </p:nvGrpSpPr>
                <p:grpSpPr bwMode="auto">
                  <a:xfrm>
                    <a:off x="3299249" y="5115726"/>
                    <a:ext cx="4720282" cy="729060"/>
                    <a:chOff x="3435179" y="4827367"/>
                    <a:chExt cx="4926291" cy="943239"/>
                  </a:xfrm>
                </p:grpSpPr>
                <p:sp>
                  <p:nvSpPr>
                    <p:cNvPr id="174" name="Rounded Rectangle 115"/>
                    <p:cNvSpPr/>
                    <p:nvPr/>
                  </p:nvSpPr>
                  <p:spPr bwMode="auto">
                    <a:xfrm>
                      <a:off x="6940443" y="4827367"/>
                      <a:ext cx="1421027" cy="926757"/>
                    </a:xfrm>
                    <a:prstGeom prst="roundRect">
                      <a:avLst/>
                    </a:prstGeom>
                    <a:gradFill rotWithShape="1">
                      <a:gsLst>
                        <a:gs pos="0">
                          <a:srgbClr val="FFFFFF">
                            <a:shade val="51000"/>
                            <a:satMod val="130000"/>
                          </a:srgbClr>
                        </a:gs>
                        <a:gs pos="80000">
                          <a:srgbClr val="FFFFFF">
                            <a:shade val="93000"/>
                            <a:satMod val="130000"/>
                          </a:srgbClr>
                        </a:gs>
                        <a:gs pos="100000">
                          <a:srgbClr val="FFFFFF">
                            <a:shade val="94000"/>
                            <a:satMod val="135000"/>
                          </a:srgbClr>
                        </a:gs>
                      </a:gsLst>
                      <a:lin ang="16200000" scaled="0"/>
                    </a:gradFill>
                    <a:ln>
                      <a:noFill/>
                      <a:headEnd type="none" w="med" len="med"/>
                      <a:tailEnd type="none" w="med" len="med"/>
                    </a:ln>
                    <a:effectLst>
                      <a:outerShdw blurRad="76200" dir="18900000" sy="23000" kx="-1200000" algn="bl" rotWithShape="0">
                        <a:prstClr val="black">
                          <a:alpha val="20000"/>
                        </a:prst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threePt" dir="t">
                        <a:rot lat="0" lon="0" rev="1200000"/>
                      </a:lightRig>
                    </a:scene3d>
                    <a:sp3d>
                      <a:bevelT w="63500" h="25400"/>
                    </a:sp3d>
                    <a:extLst/>
                  </p:spPr>
                  <p:txBody>
                    <a:bodyPr/>
                    <a:lstStyle/>
                    <a:p>
                      <a:pPr defTabSz="1219444">
                        <a:buClr>
                          <a:srgbClr val="CC9900"/>
                        </a:buClr>
                        <a:buFont typeface="Wingdings" pitchFamily="2" charset="2"/>
                        <a:buChar char="n"/>
                        <a:defRPr/>
                      </a:pPr>
                      <a:endParaRPr lang="en-US" sz="300" kern="0" dirty="0">
                        <a:solidFill>
                          <a:srgbClr val="080808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75" name="Rounded Rectangle 116"/>
                    <p:cNvSpPr/>
                    <p:nvPr/>
                  </p:nvSpPr>
                  <p:spPr bwMode="auto">
                    <a:xfrm>
                      <a:off x="5206886" y="4835608"/>
                      <a:ext cx="1421027" cy="926757"/>
                    </a:xfrm>
                    <a:prstGeom prst="roundRect">
                      <a:avLst/>
                    </a:prstGeom>
                    <a:gradFill rotWithShape="1">
                      <a:gsLst>
                        <a:gs pos="0">
                          <a:srgbClr val="FFFFFF">
                            <a:shade val="51000"/>
                            <a:satMod val="130000"/>
                          </a:srgbClr>
                        </a:gs>
                        <a:gs pos="80000">
                          <a:srgbClr val="FFFFFF">
                            <a:shade val="93000"/>
                            <a:satMod val="130000"/>
                          </a:srgbClr>
                        </a:gs>
                        <a:gs pos="100000">
                          <a:srgbClr val="FFFFFF">
                            <a:shade val="94000"/>
                            <a:satMod val="135000"/>
                          </a:srgbClr>
                        </a:gs>
                      </a:gsLst>
                      <a:lin ang="16200000" scaled="0"/>
                    </a:gradFill>
                    <a:ln>
                      <a:noFill/>
                      <a:headEnd type="none" w="med" len="med"/>
                      <a:tailEnd type="none" w="med" len="med"/>
                    </a:ln>
                    <a:effectLst>
                      <a:outerShdw blurRad="76200" dir="18900000" sy="23000" kx="-1200000" algn="bl" rotWithShape="0">
                        <a:prstClr val="black">
                          <a:alpha val="20000"/>
                        </a:prst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threePt" dir="t">
                        <a:rot lat="0" lon="0" rev="1200000"/>
                      </a:lightRig>
                    </a:scene3d>
                    <a:sp3d>
                      <a:bevelT w="63500" h="25400"/>
                    </a:sp3d>
                    <a:extLst/>
                  </p:spPr>
                  <p:txBody>
                    <a:bodyPr/>
                    <a:lstStyle/>
                    <a:p>
                      <a:pPr defTabSz="1219444">
                        <a:buClr>
                          <a:srgbClr val="CC9900"/>
                        </a:buClr>
                        <a:buFont typeface="Wingdings" pitchFamily="2" charset="2"/>
                        <a:buChar char="n"/>
                        <a:defRPr/>
                      </a:pPr>
                      <a:endParaRPr lang="en-US" sz="300" kern="0" dirty="0">
                        <a:solidFill>
                          <a:srgbClr val="080808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itchFamily="34" charset="0"/>
                      </a:endParaRPr>
                    </a:p>
                  </p:txBody>
                </p:sp>
                <p:grpSp>
                  <p:nvGrpSpPr>
                    <p:cNvPr id="176" name="Group 3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052893" y="4856199"/>
                      <a:ext cx="1226136" cy="877327"/>
                      <a:chOff x="6991108" y="4893277"/>
                      <a:chExt cx="1043744" cy="723241"/>
                    </a:xfrm>
                  </p:grpSpPr>
                  <p:pic>
                    <p:nvPicPr>
                      <p:cNvPr id="185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1108" y="4893277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6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95945" y="4893277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7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14548" y="4893277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8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5224" y="5280460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9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00061" y="5280460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90" name="Picture 78" descr="Storage_icon_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18664" y="5280460"/>
                        <a:ext cx="416188" cy="33605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grpSp>
                <p:sp>
                  <p:nvSpPr>
                    <p:cNvPr id="177" name="Rounded Rectangle 118"/>
                    <p:cNvSpPr/>
                    <p:nvPr/>
                  </p:nvSpPr>
                  <p:spPr bwMode="auto">
                    <a:xfrm>
                      <a:off x="3435179" y="4843849"/>
                      <a:ext cx="1421027" cy="926757"/>
                    </a:xfrm>
                    <a:prstGeom prst="roundRect">
                      <a:avLst/>
                    </a:prstGeom>
                    <a:gradFill rotWithShape="1">
                      <a:gsLst>
                        <a:gs pos="0">
                          <a:srgbClr val="FFFFFF">
                            <a:shade val="51000"/>
                            <a:satMod val="130000"/>
                          </a:srgbClr>
                        </a:gs>
                        <a:gs pos="80000">
                          <a:srgbClr val="FFFFFF">
                            <a:shade val="93000"/>
                            <a:satMod val="130000"/>
                          </a:srgbClr>
                        </a:gs>
                        <a:gs pos="100000">
                          <a:srgbClr val="FFFFFF">
                            <a:shade val="94000"/>
                            <a:satMod val="135000"/>
                          </a:srgbClr>
                        </a:gs>
                      </a:gsLst>
                      <a:lin ang="16200000" scaled="0"/>
                    </a:gradFill>
                    <a:ln>
                      <a:noFill/>
                      <a:headEnd type="none" w="med" len="med"/>
                      <a:tailEnd type="none" w="med" len="med"/>
                    </a:ln>
                    <a:effectLst>
                      <a:outerShdw blurRad="76200" dir="18900000" sy="23000" kx="-1200000" algn="bl" rotWithShape="0">
                        <a:prstClr val="black">
                          <a:alpha val="20000"/>
                        </a:prst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threePt" dir="t">
                        <a:rot lat="0" lon="0" rev="1200000"/>
                      </a:lightRig>
                    </a:scene3d>
                    <a:sp3d>
                      <a:bevelT w="63500" h="25400"/>
                    </a:sp3d>
                    <a:extLst/>
                  </p:spPr>
                  <p:txBody>
                    <a:bodyPr/>
                    <a:lstStyle/>
                    <a:p>
                      <a:pPr defTabSz="1219444">
                        <a:buClr>
                          <a:srgbClr val="CC9900"/>
                        </a:buClr>
                        <a:buFont typeface="Wingdings" pitchFamily="2" charset="2"/>
                        <a:buChar char="n"/>
                        <a:defRPr/>
                      </a:pPr>
                      <a:endParaRPr lang="en-US" sz="300" kern="0" dirty="0">
                        <a:solidFill>
                          <a:srgbClr val="080808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itchFamily="34" charset="0"/>
                      </a:endParaRPr>
                    </a:p>
                  </p:txBody>
                </p:sp>
                <p:grpSp>
                  <p:nvGrpSpPr>
                    <p:cNvPr id="178" name="Group 3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534032" y="4923848"/>
                      <a:ext cx="1210960" cy="772608"/>
                      <a:chOff x="4130886" y="4911500"/>
                      <a:chExt cx="663255" cy="601963"/>
                    </a:xfrm>
                  </p:grpSpPr>
                  <p:pic>
                    <p:nvPicPr>
                      <p:cNvPr id="179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39127" y="4911500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0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57465" y="4911500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1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5803" y="4911500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2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30886" y="5286326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3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49224" y="5286326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84" name="Picture 86" descr="CPU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67562" y="5286326"/>
                        <a:ext cx="218338" cy="227137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grpSp>
              </p:grpSp>
              <p:grpSp>
                <p:nvGrpSpPr>
                  <p:cNvPr id="165" name="Group 52"/>
                  <p:cNvGrpSpPr>
                    <a:grpSpLocks/>
                  </p:cNvGrpSpPr>
                  <p:nvPr/>
                </p:nvGrpSpPr>
                <p:grpSpPr bwMode="auto">
                  <a:xfrm>
                    <a:off x="5053918" y="5189837"/>
                    <a:ext cx="1285096" cy="579899"/>
                    <a:chOff x="6660291" y="2621380"/>
                    <a:chExt cx="1541703" cy="677005"/>
                  </a:xfrm>
                </p:grpSpPr>
                <p:grpSp>
                  <p:nvGrpSpPr>
                    <p:cNvPr id="166" name="Group 4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660291" y="2621380"/>
                      <a:ext cx="1525230" cy="339250"/>
                      <a:chOff x="6840153" y="2621381"/>
                      <a:chExt cx="896105" cy="198052"/>
                    </a:xfrm>
                  </p:grpSpPr>
                  <p:pic>
                    <p:nvPicPr>
                      <p:cNvPr id="171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40153" y="2621381"/>
                        <a:ext cx="323985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72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38347" y="2621381"/>
                        <a:ext cx="323985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73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10864" y="2621381"/>
                        <a:ext cx="325394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grpSp>
                <p:grpSp>
                  <p:nvGrpSpPr>
                    <p:cNvPr id="167" name="Group 4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676764" y="2959135"/>
                      <a:ext cx="1525230" cy="339250"/>
                      <a:chOff x="6840153" y="2621381"/>
                      <a:chExt cx="896105" cy="198052"/>
                    </a:xfrm>
                  </p:grpSpPr>
                  <p:pic>
                    <p:nvPicPr>
                      <p:cNvPr id="168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40153" y="2621381"/>
                        <a:ext cx="323985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69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38347" y="2621381"/>
                        <a:ext cx="323985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  <p:pic>
                    <p:nvPicPr>
                      <p:cNvPr id="170" name="Picture 7" descr="NIC_icon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10864" y="2621381"/>
                        <a:ext cx="325394" cy="19805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grpSp>
              </p:grpSp>
            </p:grpSp>
            <p:sp>
              <p:nvSpPr>
                <p:cNvPr id="162" name="Rounded Rectangle 103"/>
                <p:cNvSpPr/>
                <p:nvPr/>
              </p:nvSpPr>
              <p:spPr bwMode="auto">
                <a:xfrm>
                  <a:off x="3373396" y="4930347"/>
                  <a:ext cx="4609070" cy="308920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FFFF">
                        <a:shade val="51000"/>
                        <a:satMod val="130000"/>
                      </a:srgbClr>
                    </a:gs>
                    <a:gs pos="80000">
                      <a:srgbClr val="FFFFFF">
                        <a:shade val="93000"/>
                        <a:satMod val="130000"/>
                      </a:srgbClr>
                    </a:gs>
                    <a:gs pos="100000">
                      <a:srgbClr val="FFFFFF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med" len="med"/>
                  <a:tailEnd type="none" w="med" len="me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  <a:extLst/>
              </p:spPr>
              <p:txBody>
                <a:bodyPr anchor="ctr"/>
                <a:lstStyle/>
                <a:p>
                  <a:pPr algn="ctr" defTabSz="1219444">
                    <a:buClr>
                      <a:srgbClr val="CC9900"/>
                    </a:buClr>
                    <a:defRPr/>
                  </a:pPr>
                  <a:r>
                    <a:rPr lang="zh-CN" altLang="en-US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虚拟服务器</a:t>
                  </a:r>
                  <a:r>
                    <a:rPr lang="en-US" altLang="zh-CN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/</a:t>
                  </a:r>
                  <a:r>
                    <a:rPr lang="zh-CN" altLang="en-US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网络</a:t>
                  </a:r>
                  <a:r>
                    <a:rPr lang="en-US" altLang="zh-CN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/</a:t>
                  </a:r>
                  <a:r>
                    <a:rPr lang="zh-CN" altLang="en-US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存储</a:t>
                  </a:r>
                </a:p>
              </p:txBody>
            </p:sp>
            <p:sp>
              <p:nvSpPr>
                <p:cNvPr id="163" name="Rounded Rectangle 104"/>
                <p:cNvSpPr/>
                <p:nvPr/>
              </p:nvSpPr>
              <p:spPr bwMode="auto">
                <a:xfrm>
                  <a:off x="3377512" y="4539039"/>
                  <a:ext cx="4609070" cy="308920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FFFFFF">
                        <a:shade val="51000"/>
                        <a:satMod val="130000"/>
                      </a:srgbClr>
                    </a:gs>
                    <a:gs pos="80000">
                      <a:srgbClr val="FFFFFF">
                        <a:shade val="93000"/>
                        <a:satMod val="130000"/>
                      </a:srgbClr>
                    </a:gs>
                    <a:gs pos="100000">
                      <a:srgbClr val="FFFFFF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med" len="med"/>
                  <a:tailEnd type="none" w="med" len="me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  <a:extLst/>
              </p:spPr>
              <p:txBody>
                <a:bodyPr anchor="ctr"/>
                <a:lstStyle/>
                <a:p>
                  <a:pPr algn="ctr" defTabSz="1219444">
                    <a:buClr>
                      <a:srgbClr val="CC9900"/>
                    </a:buClr>
                    <a:defRPr/>
                  </a:pPr>
                  <a:r>
                    <a:rPr lang="zh-CN" altLang="en-US" sz="300">
                      <a:solidFill>
                        <a:srgbClr val="979797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itchFamily="34" charset="0"/>
                    </a:rPr>
                    <a:t>云计算操作系统</a:t>
                  </a:r>
                </a:p>
              </p:txBody>
            </p:sp>
          </p:grpSp>
          <p:pic>
            <p:nvPicPr>
              <p:cNvPr id="155" name="Picture 3"/>
              <p:cNvPicPr>
                <a:picLocks noChangeAspect="1" noChangeArrowheads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36975" y="2670175"/>
                <a:ext cx="760412" cy="647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6" name="Picture 4"/>
              <p:cNvPicPr>
                <a:picLocks noChangeAspect="1" noChangeArrowheads="1"/>
              </p:cNvPicPr>
              <p:nvPr/>
            </p:nvPicPr>
            <p:blipFill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0575" y="2670175"/>
                <a:ext cx="760412" cy="647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7" name="Picture 2"/>
              <p:cNvPicPr>
                <a:picLocks noChangeAspect="1" noChangeArrowheads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18150" y="2640012"/>
                <a:ext cx="760412" cy="6778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8" name="Text Box 64"/>
              <p:cNvSpPr txBox="1">
                <a:spLocks noChangeArrowheads="1"/>
              </p:cNvSpPr>
              <p:nvPr/>
            </p:nvSpPr>
            <p:spPr bwMode="gray">
              <a:xfrm>
                <a:off x="4505326" y="2270127"/>
                <a:ext cx="933446" cy="310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83399" tIns="41700" rIns="83399" bIns="41700">
                <a:spAutoFit/>
              </a:bodyPr>
              <a:lstStyle/>
              <a:p>
                <a:pPr defTabSz="1219444">
                  <a:spcBef>
                    <a:spcPct val="50000"/>
                  </a:spcBef>
                  <a:defRPr/>
                </a:pPr>
                <a:r>
                  <a:rPr lang="zh-CN" altLang="en-US" sz="100" b="1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呼叫中心</a:t>
                </a:r>
              </a:p>
            </p:txBody>
          </p:sp>
          <p:sp>
            <p:nvSpPr>
              <p:cNvPr id="159" name="Text Box 65"/>
              <p:cNvSpPr txBox="1">
                <a:spLocks noChangeArrowheads="1"/>
              </p:cNvSpPr>
              <p:nvPr/>
            </p:nvSpPr>
            <p:spPr bwMode="gray">
              <a:xfrm>
                <a:off x="3638552" y="2263776"/>
                <a:ext cx="881060" cy="310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83399" tIns="41700" rIns="83399" bIns="41700">
                <a:spAutoFit/>
              </a:bodyPr>
              <a:lstStyle/>
              <a:p>
                <a:pPr algn="ctr" defTabSz="1219444">
                  <a:spcBef>
                    <a:spcPct val="50000"/>
                  </a:spcBef>
                  <a:defRPr/>
                </a:pPr>
                <a:r>
                  <a:rPr lang="zh-CN" altLang="en-US" sz="100" b="1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办公室 </a:t>
                </a:r>
              </a:p>
            </p:txBody>
          </p:sp>
          <p:sp>
            <p:nvSpPr>
              <p:cNvPr id="160" name="Text Box 65"/>
              <p:cNvSpPr txBox="1">
                <a:spLocks noChangeArrowheads="1"/>
              </p:cNvSpPr>
              <p:nvPr/>
            </p:nvSpPr>
            <p:spPr bwMode="gray">
              <a:xfrm>
                <a:off x="5367333" y="2263776"/>
                <a:ext cx="1109663" cy="310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83399" tIns="41700" rIns="83399" bIns="41700">
                <a:spAutoFit/>
              </a:bodyPr>
              <a:lstStyle/>
              <a:p>
                <a:pPr algn="ctr" defTabSz="1219444">
                  <a:spcBef>
                    <a:spcPct val="50000"/>
                  </a:spcBef>
                  <a:defRPr/>
                </a:pPr>
                <a:r>
                  <a:rPr lang="zh-CN" altLang="en-US" sz="100" b="1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itchFamily="34" charset="0"/>
                  </a:rPr>
                  <a:t>营业厅</a:t>
                </a:r>
              </a:p>
            </p:txBody>
          </p:sp>
        </p:grpSp>
        <p:sp>
          <p:nvSpPr>
            <p:cNvPr id="128" name="Rectangle 263"/>
            <p:cNvSpPr/>
            <p:nvPr/>
          </p:nvSpPr>
          <p:spPr bwMode="auto">
            <a:xfrm>
              <a:off x="6019800" y="1258230"/>
              <a:ext cx="1981200" cy="1470630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219444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  <p:sp>
        <p:nvSpPr>
          <p:cNvPr id="126" name="TextBox 4"/>
          <p:cNvSpPr txBox="1"/>
          <p:nvPr/>
        </p:nvSpPr>
        <p:spPr>
          <a:xfrm>
            <a:off x="5047203" y="2764512"/>
            <a:ext cx="34038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444"/>
            <a:r>
              <a:rPr lang="zh-CN" altLang="en-US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服务器</a:t>
            </a:r>
            <a:r>
              <a: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&amp;</a:t>
            </a:r>
            <a:r>
              <a:rPr lang="zh-CN" altLang="en-US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存储学院</a:t>
            </a:r>
          </a:p>
        </p:txBody>
      </p:sp>
      <p:sp>
        <p:nvSpPr>
          <p:cNvPr id="193" name="Rectangle 111"/>
          <p:cNvSpPr/>
          <p:nvPr/>
        </p:nvSpPr>
        <p:spPr>
          <a:xfrm>
            <a:off x="1011564" y="2797456"/>
            <a:ext cx="2895601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444">
              <a:lnSpc>
                <a:spcPct val="150000"/>
              </a:lnSpc>
            </a:pPr>
            <a:r>
              <a:rPr lang="zh-CN" altLang="en-US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路由器</a:t>
            </a:r>
            <a:r>
              <a: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&amp;</a:t>
            </a:r>
            <a:r>
              <a:rPr lang="zh-CN" altLang="en-US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交换学院</a:t>
            </a:r>
          </a:p>
        </p:txBody>
      </p:sp>
      <p:sp>
        <p:nvSpPr>
          <p:cNvPr id="194" name="TextBox 116"/>
          <p:cNvSpPr txBox="1"/>
          <p:nvPr/>
        </p:nvSpPr>
        <p:spPr>
          <a:xfrm>
            <a:off x="469297" y="3065790"/>
            <a:ext cx="4292933" cy="910160"/>
          </a:xfrm>
          <a:prstGeom prst="rect">
            <a:avLst/>
          </a:prstGeom>
          <a:noFill/>
          <a:ln>
            <a:noFill/>
          </a:ln>
        </p:spPr>
        <p:txBody>
          <a:bodyPr wrap="square" lIns="0" tIns="54439" rIns="0" bIns="54439" rtlCol="0">
            <a:spAutoFit/>
          </a:bodyPr>
          <a:lstStyle/>
          <a:p>
            <a:pPr defTabSz="1219444">
              <a:spcBef>
                <a:spcPts val="600"/>
              </a:spcBef>
              <a:spcAft>
                <a:spcPts val="600"/>
              </a:spcAft>
            </a:pP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进展及下一步行动： 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本学期为学生提供一期（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5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周* 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4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小时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周）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HCIA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学联盟计划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+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名学生正在参加这次培训</a:t>
            </a:r>
          </a:p>
          <a:p>
            <a:endParaRPr lang="en-US" altLang="zh-CN" sz="9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下学期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YTI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学将提供更多类型（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HCIP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云和</a:t>
            </a: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R&amp;S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智慧城市人才）</a:t>
            </a:r>
          </a:p>
        </p:txBody>
      </p:sp>
      <p:pic>
        <p:nvPicPr>
          <p:cNvPr id="195" name="图片 194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771796" y="3082623"/>
            <a:ext cx="3805240" cy="825158"/>
          </a:xfrm>
          <a:prstGeom prst="rect">
            <a:avLst/>
          </a:prstGeom>
        </p:spPr>
      </p:pic>
      <p:sp>
        <p:nvSpPr>
          <p:cNvPr id="197" name="矩形 6"/>
          <p:cNvSpPr/>
          <p:nvPr/>
        </p:nvSpPr>
        <p:spPr>
          <a:xfrm>
            <a:off x="820630" y="4408382"/>
            <a:ext cx="936000" cy="175703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19976" tIns="0" rIns="119976" bIns="0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Clr>
                <a:srgbClr val="990000"/>
              </a:buClr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7.05</a:t>
            </a:r>
          </a:p>
        </p:txBody>
      </p:sp>
      <p:sp>
        <p:nvSpPr>
          <p:cNvPr id="198" name="矩形 7"/>
          <p:cNvSpPr/>
          <p:nvPr/>
        </p:nvSpPr>
        <p:spPr>
          <a:xfrm>
            <a:off x="1767785" y="4408382"/>
            <a:ext cx="936000" cy="1757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Clr>
                <a:srgbClr val="990000"/>
              </a:buClr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7.07</a:t>
            </a:r>
          </a:p>
        </p:txBody>
      </p:sp>
      <p:sp>
        <p:nvSpPr>
          <p:cNvPr id="199" name="矩形 9"/>
          <p:cNvSpPr/>
          <p:nvPr/>
        </p:nvSpPr>
        <p:spPr>
          <a:xfrm>
            <a:off x="3657600" y="4408382"/>
            <a:ext cx="936000" cy="1757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7.10</a:t>
            </a:r>
          </a:p>
        </p:txBody>
      </p:sp>
      <p:sp>
        <p:nvSpPr>
          <p:cNvPr id="200" name="矩形 10"/>
          <p:cNvSpPr/>
          <p:nvPr/>
        </p:nvSpPr>
        <p:spPr>
          <a:xfrm>
            <a:off x="4603158" y="4408382"/>
            <a:ext cx="936000" cy="175703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8.05</a:t>
            </a:r>
          </a:p>
        </p:txBody>
      </p:sp>
      <p:cxnSp>
        <p:nvCxnSpPr>
          <p:cNvPr id="201" name="直接箭头连接符 88"/>
          <p:cNvCxnSpPr/>
          <p:nvPr/>
        </p:nvCxnSpPr>
        <p:spPr bwMode="auto">
          <a:xfrm>
            <a:off x="1295400" y="4261997"/>
            <a:ext cx="0" cy="146386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2" name="직사각형 35"/>
          <p:cNvSpPr>
            <a:spLocks noChangeArrowheads="1"/>
          </p:cNvSpPr>
          <p:nvPr/>
        </p:nvSpPr>
        <p:spPr bwMode="auto">
          <a:xfrm>
            <a:off x="2711668" y="4408382"/>
            <a:ext cx="936000" cy="175703"/>
          </a:xfrm>
          <a:prstGeom prst="rect">
            <a:avLst/>
          </a:prstGeom>
          <a:solidFill>
            <a:srgbClr val="C00000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21896" tIns="60948" rIns="121896" bIns="60948" anchor="ctr" anchorCtr="0">
            <a:noAutofit/>
          </a:bodyPr>
          <a:lstStyle/>
          <a:p>
            <a:pPr algn="ctr" defTabSz="1219362"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Malgun Gothic" pitchFamily="34" charset="-127"/>
              </a:rPr>
              <a:t>2017.09</a:t>
            </a:r>
          </a:p>
        </p:txBody>
      </p:sp>
      <p:sp>
        <p:nvSpPr>
          <p:cNvPr id="203" name="矩形 93"/>
          <p:cNvSpPr/>
          <p:nvPr/>
        </p:nvSpPr>
        <p:spPr>
          <a:xfrm>
            <a:off x="5550257" y="4408382"/>
            <a:ext cx="936000" cy="1757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8.12</a:t>
            </a:r>
          </a:p>
        </p:txBody>
      </p:sp>
      <p:sp>
        <p:nvSpPr>
          <p:cNvPr id="204" name="矩形 93"/>
          <p:cNvSpPr/>
          <p:nvPr/>
        </p:nvSpPr>
        <p:spPr>
          <a:xfrm>
            <a:off x="6503789" y="4408382"/>
            <a:ext cx="936000" cy="175703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SzPct val="60000"/>
              <a:defRPr/>
            </a:pPr>
            <a:r>
              <a:rPr lang="en-US" altLang="zh-CN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2019.02</a:t>
            </a:r>
          </a:p>
        </p:txBody>
      </p:sp>
      <p:sp>
        <p:nvSpPr>
          <p:cNvPr id="205" name="矩形 91"/>
          <p:cNvSpPr/>
          <p:nvPr/>
        </p:nvSpPr>
        <p:spPr bwMode="auto">
          <a:xfrm>
            <a:off x="827590" y="4095440"/>
            <a:ext cx="925010" cy="1665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现场培训</a:t>
            </a:r>
          </a:p>
        </p:txBody>
      </p:sp>
      <p:sp>
        <p:nvSpPr>
          <p:cNvPr id="206" name="右箭头 92"/>
          <p:cNvSpPr/>
          <p:nvPr/>
        </p:nvSpPr>
        <p:spPr bwMode="auto">
          <a:xfrm>
            <a:off x="7459976" y="4320667"/>
            <a:ext cx="1074424" cy="349768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50000"/>
              </a:prstClr>
            </a:outerShdw>
          </a:effectLst>
          <a:extLst/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Clr>
                <a:srgbClr val="CC9900"/>
              </a:buClr>
              <a:buSzPct val="60000"/>
              <a:buFont typeface="Wingdings" pitchFamily="2" charset="2"/>
              <a:buChar char="n"/>
              <a:defRPr/>
            </a:pPr>
            <a:endParaRPr lang="zh-CN" altLang="en-US" sz="600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207" name="矩形 93"/>
          <p:cNvSpPr/>
          <p:nvPr/>
        </p:nvSpPr>
        <p:spPr>
          <a:xfrm>
            <a:off x="7483686" y="4408382"/>
            <a:ext cx="1050714" cy="17570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162549" tIns="81275" rIns="162549" bIns="81275" anchor="ctr" anchorCtr="0">
            <a:noAutofit/>
          </a:bodyPr>
          <a:lstStyle/>
          <a:p>
            <a:pPr marL="285570" indent="-285570" algn="ctr" defTabSz="929709" eaLnBrk="0" hangingPunct="0">
              <a:lnSpc>
                <a:spcPct val="130000"/>
              </a:lnSpc>
              <a:buSzPct val="60000"/>
              <a:defRPr/>
            </a:pPr>
            <a:r>
              <a:rPr lang="zh-CN" altLang="en-US" sz="8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/>
              </a:rPr>
              <a:t>未来</a:t>
            </a:r>
          </a:p>
        </p:txBody>
      </p:sp>
      <p:sp>
        <p:nvSpPr>
          <p:cNvPr id="208" name="矩形 94"/>
          <p:cNvSpPr/>
          <p:nvPr/>
        </p:nvSpPr>
        <p:spPr bwMode="auto">
          <a:xfrm>
            <a:off x="2711668" y="4095440"/>
            <a:ext cx="936000" cy="1511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实验室搭建完成</a:t>
            </a:r>
          </a:p>
        </p:txBody>
      </p:sp>
      <p:sp>
        <p:nvSpPr>
          <p:cNvPr id="209" name="矩形 96"/>
          <p:cNvSpPr/>
          <p:nvPr/>
        </p:nvSpPr>
        <p:spPr bwMode="auto">
          <a:xfrm>
            <a:off x="4610834" y="4102166"/>
            <a:ext cx="9360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en-US" altLang="zh-CN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YTI</a:t>
            </a:r>
            <a:r>
              <a:rPr lang="zh-CN" altLang="en-US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学教师通过认证</a:t>
            </a:r>
          </a:p>
        </p:txBody>
      </p:sp>
      <p:sp>
        <p:nvSpPr>
          <p:cNvPr id="210" name="矩形 97"/>
          <p:cNvSpPr/>
          <p:nvPr/>
        </p:nvSpPr>
        <p:spPr bwMode="auto">
          <a:xfrm>
            <a:off x="1789385" y="4752430"/>
            <a:ext cx="950400" cy="16129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站点准备</a:t>
            </a:r>
          </a:p>
        </p:txBody>
      </p:sp>
      <p:sp>
        <p:nvSpPr>
          <p:cNvPr id="211" name="矩形 98"/>
          <p:cNvSpPr/>
          <p:nvPr/>
        </p:nvSpPr>
        <p:spPr bwMode="auto">
          <a:xfrm>
            <a:off x="3657600" y="4743851"/>
            <a:ext cx="936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en-US" altLang="zh-CN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YTI</a:t>
            </a:r>
            <a:r>
              <a:rPr lang="zh-CN" altLang="en-US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学教师培训交付</a:t>
            </a:r>
          </a:p>
        </p:txBody>
      </p:sp>
      <p:cxnSp>
        <p:nvCxnSpPr>
          <p:cNvPr id="212" name="直接箭头连接符 211"/>
          <p:cNvCxnSpPr/>
          <p:nvPr/>
        </p:nvCxnSpPr>
        <p:spPr bwMode="auto">
          <a:xfrm>
            <a:off x="3200400" y="4268443"/>
            <a:ext cx="0" cy="139944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3" name="直接箭头连接符 88"/>
          <p:cNvCxnSpPr/>
          <p:nvPr/>
        </p:nvCxnSpPr>
        <p:spPr bwMode="auto">
          <a:xfrm>
            <a:off x="5097517" y="4293272"/>
            <a:ext cx="0" cy="115111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4" name="直接箭头连接符 85"/>
          <p:cNvCxnSpPr/>
          <p:nvPr/>
        </p:nvCxnSpPr>
        <p:spPr bwMode="auto">
          <a:xfrm flipV="1">
            <a:off x="4114800" y="4597028"/>
            <a:ext cx="0" cy="138952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  <a:alpha val="5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5" name="直接箭头连接符 85"/>
          <p:cNvCxnSpPr/>
          <p:nvPr/>
        </p:nvCxnSpPr>
        <p:spPr bwMode="auto">
          <a:xfrm flipV="1">
            <a:off x="2286000" y="4585395"/>
            <a:ext cx="0" cy="177747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  <a:alpha val="5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3" name="Text Box 978"/>
          <p:cNvSpPr txBox="1">
            <a:spLocks noChangeArrowheads="1"/>
          </p:cNvSpPr>
          <p:nvPr/>
        </p:nvSpPr>
        <p:spPr bwMode="auto">
          <a:xfrm>
            <a:off x="2200807" y="4793459"/>
            <a:ext cx="65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14275" indent="-114275" algn="ctr" defTabSz="1219362">
              <a:defRPr/>
            </a:pPr>
            <a:endParaRPr lang="en-US" altLang="ko-KR" sz="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19" name="Rectangle 97"/>
          <p:cNvSpPr/>
          <p:nvPr/>
        </p:nvSpPr>
        <p:spPr>
          <a:xfrm>
            <a:off x="237360" y="4308412"/>
            <a:ext cx="592421" cy="400085"/>
          </a:xfrm>
          <a:prstGeom prst="rect">
            <a:avLst/>
          </a:prstGeom>
        </p:spPr>
        <p:txBody>
          <a:bodyPr wrap="none" lIns="121896" tIns="60948" rIns="121896" bIns="60948">
            <a:spAutoFit/>
          </a:bodyPr>
          <a:lstStyle/>
          <a:p>
            <a:pPr algn="ctr" defTabSz="1219362"/>
            <a:r>
              <a:rPr lang="zh-CN" altLang="en-US" sz="9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项目</a:t>
            </a:r>
          </a:p>
          <a:p>
            <a:pPr algn="ctr" defTabSz="1219362"/>
            <a:r>
              <a:rPr lang="zh-CN" altLang="en-US" sz="9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里程碑</a:t>
            </a:r>
          </a:p>
        </p:txBody>
      </p:sp>
      <p:sp>
        <p:nvSpPr>
          <p:cNvPr id="221" name="矩形 97"/>
          <p:cNvSpPr/>
          <p:nvPr/>
        </p:nvSpPr>
        <p:spPr bwMode="auto">
          <a:xfrm>
            <a:off x="5544167" y="4754677"/>
            <a:ext cx="936000" cy="253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en-US" altLang="zh-CN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YTI</a:t>
            </a:r>
            <a:r>
              <a:rPr lang="zh-CN" altLang="en-US" sz="7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学首期向学生开放</a:t>
            </a:r>
          </a:p>
        </p:txBody>
      </p:sp>
      <p:sp>
        <p:nvSpPr>
          <p:cNvPr id="231" name="Text Box 978"/>
          <p:cNvSpPr txBox="1">
            <a:spLocks noChangeArrowheads="1"/>
          </p:cNvSpPr>
          <p:nvPr/>
        </p:nvSpPr>
        <p:spPr bwMode="auto">
          <a:xfrm>
            <a:off x="6326407" y="4810914"/>
            <a:ext cx="65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14275" indent="-114275" algn="ctr" defTabSz="1219362">
              <a:defRPr/>
            </a:pPr>
            <a:endParaRPr lang="en-US" altLang="ko-KR" sz="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223" name="直接箭头连接符 88"/>
          <p:cNvCxnSpPr/>
          <p:nvPr/>
        </p:nvCxnSpPr>
        <p:spPr bwMode="auto">
          <a:xfrm>
            <a:off x="6965732" y="4309431"/>
            <a:ext cx="0" cy="115111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4" name="矩形 96"/>
          <p:cNvSpPr/>
          <p:nvPr/>
        </p:nvSpPr>
        <p:spPr bwMode="auto">
          <a:xfrm>
            <a:off x="6507951" y="4067324"/>
            <a:ext cx="936000" cy="2338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培训扩大到女教师</a:t>
            </a:r>
          </a:p>
        </p:txBody>
      </p:sp>
      <p:sp>
        <p:nvSpPr>
          <p:cNvPr id="225" name="矩形 97"/>
          <p:cNvSpPr/>
          <p:nvPr/>
        </p:nvSpPr>
        <p:spPr bwMode="auto">
          <a:xfrm>
            <a:off x="7483366" y="4758150"/>
            <a:ext cx="936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年</a:t>
            </a:r>
            <a:r>
              <a:rPr lang="en-US" altLang="zh-CN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0+</a:t>
            </a: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认证学生</a:t>
            </a:r>
          </a:p>
        </p:txBody>
      </p:sp>
      <p:sp>
        <p:nvSpPr>
          <p:cNvPr id="229" name="Text Box 978"/>
          <p:cNvSpPr txBox="1">
            <a:spLocks noChangeArrowheads="1"/>
          </p:cNvSpPr>
          <p:nvPr/>
        </p:nvSpPr>
        <p:spPr bwMode="auto">
          <a:xfrm>
            <a:off x="8392716" y="4833949"/>
            <a:ext cx="65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14275" indent="-114275" algn="ctr" defTabSz="1219362">
              <a:defRPr/>
            </a:pPr>
            <a:endParaRPr lang="en-US" altLang="ko-KR" sz="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227" name="直接箭头连接符 85"/>
          <p:cNvCxnSpPr/>
          <p:nvPr/>
        </p:nvCxnSpPr>
        <p:spPr bwMode="auto">
          <a:xfrm flipV="1">
            <a:off x="6019800" y="4597028"/>
            <a:ext cx="0" cy="138952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  <a:alpha val="5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8" name="直接箭头连接符 85"/>
          <p:cNvCxnSpPr/>
          <p:nvPr/>
        </p:nvCxnSpPr>
        <p:spPr bwMode="auto">
          <a:xfrm flipV="1">
            <a:off x="7956431" y="4594747"/>
            <a:ext cx="0" cy="138952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  <a:alpha val="5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7" name="直接箭头连接符 88"/>
          <p:cNvCxnSpPr/>
          <p:nvPr/>
        </p:nvCxnSpPr>
        <p:spPr bwMode="auto">
          <a:xfrm>
            <a:off x="8007327" y="4311787"/>
            <a:ext cx="0" cy="115111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8" name="矩形 96"/>
          <p:cNvSpPr/>
          <p:nvPr/>
        </p:nvSpPr>
        <p:spPr bwMode="auto">
          <a:xfrm>
            <a:off x="7522200" y="4069680"/>
            <a:ext cx="936000" cy="2338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000" tIns="60948" rIns="36000" bIns="60948" numCol="1" rtlCol="0" anchor="ctr" anchorCtr="0" compatLnSpc="1">
            <a:prstTxWarp prst="textNoShape">
              <a:avLst/>
            </a:prstTxWarp>
          </a:bodyPr>
          <a:lstStyle/>
          <a:p>
            <a:pPr algn="ctr" defTabSz="1218956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70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城市人才培养</a:t>
            </a:r>
          </a:p>
        </p:txBody>
      </p:sp>
    </p:spTree>
    <p:extLst>
      <p:ext uri="{BB962C8B-B14F-4D97-AF65-F5344CB8AC3E}">
        <p14:creationId xmlns:p14="http://schemas.microsoft.com/office/powerpoint/2010/main" val="2194811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Rectangle 4"/>
          <p:cNvSpPr>
            <a:spLocks noChangeArrowheads="1"/>
          </p:cNvSpPr>
          <p:nvPr/>
        </p:nvSpPr>
        <p:spPr bwMode="auto">
          <a:xfrm>
            <a:off x="6598429" y="1675223"/>
            <a:ext cx="964074" cy="340251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35748" tIns="17874" rIns="35748" bIns="17874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5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06" name="组合 205"/>
          <p:cNvGrpSpPr/>
          <p:nvPr/>
        </p:nvGrpSpPr>
        <p:grpSpPr>
          <a:xfrm>
            <a:off x="4114801" y="1675223"/>
            <a:ext cx="2405228" cy="3407677"/>
            <a:chOff x="5521524" y="1701602"/>
            <a:chExt cx="3244137" cy="4544752"/>
          </a:xfrm>
        </p:grpSpPr>
        <p:sp>
          <p:nvSpPr>
            <p:cNvPr id="207" name="Rectangle 4"/>
            <p:cNvSpPr>
              <a:spLocks noChangeArrowheads="1"/>
            </p:cNvSpPr>
            <p:nvPr/>
          </p:nvSpPr>
          <p:spPr bwMode="auto">
            <a:xfrm>
              <a:off x="8029709" y="1701602"/>
              <a:ext cx="735952" cy="45268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prstDash val="lgDash"/>
              <a:miter lim="800000"/>
              <a:headEnd/>
              <a:tailEnd/>
            </a:ln>
            <a:effectLst/>
          </p:spPr>
          <p:txBody>
            <a:bodyPr wrap="square" lIns="35748" tIns="17874" rIns="35748" bIns="17874" anchor="t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40891" eaLnBrk="0" fontAlgn="ctr" hangingPunct="0">
                <a:buSzPct val="60000"/>
                <a:defRPr/>
              </a:pPr>
              <a:endParaRPr lang="en-US" altLang="zh-CN" sz="1500" b="1" kern="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208" name="Rectangle 4"/>
            <p:cNvSpPr>
              <a:spLocks noChangeArrowheads="1"/>
            </p:cNvSpPr>
            <p:nvPr/>
          </p:nvSpPr>
          <p:spPr bwMode="auto">
            <a:xfrm>
              <a:off x="5521524" y="2907564"/>
              <a:ext cx="3244137" cy="33387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prstDash val="lgDash"/>
              <a:miter lim="800000"/>
              <a:headEnd/>
              <a:tailEnd/>
            </a:ln>
            <a:effectLst/>
          </p:spPr>
          <p:txBody>
            <a:bodyPr wrap="square" lIns="35748" tIns="17874" rIns="35748" bIns="17874" anchor="t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40891" eaLnBrk="0" fontAlgn="ctr" hangingPunct="0">
                <a:buSzPct val="60000"/>
                <a:defRPr/>
              </a:pPr>
              <a:endParaRPr lang="en-US" altLang="zh-CN" sz="1500" b="1" kern="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  <p:cxnSp>
        <p:nvCxnSpPr>
          <p:cNvPr id="209" name="直接连接符 208"/>
          <p:cNvCxnSpPr/>
          <p:nvPr/>
        </p:nvCxnSpPr>
        <p:spPr>
          <a:xfrm>
            <a:off x="6566356" y="1679357"/>
            <a:ext cx="0" cy="3380681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Freeform 72"/>
          <p:cNvSpPr>
            <a:spLocks noEditPoints="1"/>
          </p:cNvSpPr>
          <p:nvPr/>
        </p:nvSpPr>
        <p:spPr bwMode="auto">
          <a:xfrm>
            <a:off x="5691572" y="3348974"/>
            <a:ext cx="522570" cy="593845"/>
          </a:xfrm>
          <a:custGeom>
            <a:avLst/>
            <a:gdLst/>
            <a:ahLst/>
            <a:cxnLst>
              <a:cxn ang="0">
                <a:pos x="280" y="369"/>
              </a:cxn>
              <a:cxn ang="0">
                <a:pos x="216" y="289"/>
              </a:cxn>
              <a:cxn ang="0">
                <a:pos x="178" y="248"/>
              </a:cxn>
              <a:cxn ang="0">
                <a:pos x="217" y="249"/>
              </a:cxn>
              <a:cxn ang="0">
                <a:pos x="226" y="229"/>
              </a:cxn>
              <a:cxn ang="0">
                <a:pos x="303" y="321"/>
              </a:cxn>
              <a:cxn ang="0">
                <a:pos x="336" y="345"/>
              </a:cxn>
              <a:cxn ang="0">
                <a:pos x="315" y="347"/>
              </a:cxn>
              <a:cxn ang="0">
                <a:pos x="315" y="387"/>
              </a:cxn>
              <a:cxn ang="0">
                <a:pos x="297" y="365"/>
              </a:cxn>
              <a:cxn ang="0">
                <a:pos x="311" y="343"/>
              </a:cxn>
              <a:cxn ang="0">
                <a:pos x="329" y="341"/>
              </a:cxn>
              <a:cxn ang="0">
                <a:pos x="238" y="264"/>
              </a:cxn>
              <a:cxn ang="0">
                <a:pos x="206" y="230"/>
              </a:cxn>
              <a:cxn ang="0">
                <a:pos x="221" y="253"/>
              </a:cxn>
              <a:cxn ang="0">
                <a:pos x="200" y="267"/>
              </a:cxn>
              <a:cxn ang="0">
                <a:pos x="199" y="278"/>
              </a:cxn>
              <a:cxn ang="0">
                <a:pos x="249" y="314"/>
              </a:cxn>
              <a:cxn ang="0">
                <a:pos x="285" y="366"/>
              </a:cxn>
              <a:cxn ang="0">
                <a:pos x="178" y="357"/>
              </a:cxn>
              <a:cxn ang="0">
                <a:pos x="206" y="385"/>
              </a:cxn>
              <a:cxn ang="0">
                <a:pos x="248" y="333"/>
              </a:cxn>
              <a:cxn ang="0">
                <a:pos x="186" y="339"/>
              </a:cxn>
              <a:cxn ang="0">
                <a:pos x="31" y="220"/>
              </a:cxn>
              <a:cxn ang="0">
                <a:pos x="130" y="224"/>
              </a:cxn>
              <a:cxn ang="0">
                <a:pos x="200" y="198"/>
              </a:cxn>
              <a:cxn ang="0">
                <a:pos x="202" y="205"/>
              </a:cxn>
              <a:cxn ang="0">
                <a:pos x="97" y="205"/>
              </a:cxn>
              <a:cxn ang="0">
                <a:pos x="186" y="333"/>
              </a:cxn>
              <a:cxn ang="0">
                <a:pos x="260" y="275"/>
              </a:cxn>
              <a:cxn ang="0">
                <a:pos x="277" y="222"/>
              </a:cxn>
              <a:cxn ang="0">
                <a:pos x="322" y="301"/>
              </a:cxn>
              <a:cxn ang="0">
                <a:pos x="268" y="275"/>
              </a:cxn>
              <a:cxn ang="0">
                <a:pos x="322" y="293"/>
              </a:cxn>
              <a:cxn ang="0">
                <a:pos x="279" y="229"/>
              </a:cxn>
              <a:cxn ang="0">
                <a:pos x="268" y="275"/>
              </a:cxn>
              <a:cxn ang="0">
                <a:pos x="87" y="162"/>
              </a:cxn>
              <a:cxn ang="0">
                <a:pos x="72" y="119"/>
              </a:cxn>
              <a:cxn ang="0">
                <a:pos x="226" y="119"/>
              </a:cxn>
              <a:cxn ang="0">
                <a:pos x="169" y="216"/>
              </a:cxn>
              <a:cxn ang="0">
                <a:pos x="91" y="158"/>
              </a:cxn>
              <a:cxn ang="0">
                <a:pos x="131" y="210"/>
              </a:cxn>
              <a:cxn ang="0">
                <a:pos x="206" y="158"/>
              </a:cxn>
              <a:cxn ang="0">
                <a:pos x="220" y="122"/>
              </a:cxn>
              <a:cxn ang="0">
                <a:pos x="231" y="109"/>
              </a:cxn>
              <a:cxn ang="0">
                <a:pos x="68" y="93"/>
              </a:cxn>
              <a:cxn ang="0">
                <a:pos x="109" y="21"/>
              </a:cxn>
              <a:cxn ang="0">
                <a:pos x="117" y="42"/>
              </a:cxn>
              <a:cxn ang="0">
                <a:pos x="179" y="9"/>
              </a:cxn>
              <a:cxn ang="0">
                <a:pos x="186" y="23"/>
              </a:cxn>
              <a:cxn ang="0">
                <a:pos x="225" y="80"/>
              </a:cxn>
              <a:cxn ang="0">
                <a:pos x="231" y="106"/>
              </a:cxn>
              <a:cxn ang="0">
                <a:pos x="225" y="103"/>
              </a:cxn>
              <a:cxn ang="0">
                <a:pos x="222" y="86"/>
              </a:cxn>
              <a:cxn ang="0">
                <a:pos x="176" y="84"/>
              </a:cxn>
              <a:cxn ang="0">
                <a:pos x="167" y="103"/>
              </a:cxn>
              <a:cxn ang="0">
                <a:pos x="178" y="20"/>
              </a:cxn>
              <a:cxn ang="0">
                <a:pos x="121" y="20"/>
              </a:cxn>
              <a:cxn ang="0">
                <a:pos x="132" y="103"/>
              </a:cxn>
              <a:cxn ang="0">
                <a:pos x="123" y="84"/>
              </a:cxn>
              <a:cxn ang="0">
                <a:pos x="77" y="86"/>
              </a:cxn>
            </a:cxnLst>
            <a:rect l="0" t="0" r="r" b="b"/>
            <a:pathLst>
              <a:path w="351" h="387">
                <a:moveTo>
                  <a:pt x="315" y="387"/>
                </a:moveTo>
                <a:cubicBezTo>
                  <a:pt x="292" y="381"/>
                  <a:pt x="292" y="381"/>
                  <a:pt x="292" y="381"/>
                </a:cubicBezTo>
                <a:cubicBezTo>
                  <a:pt x="280" y="369"/>
                  <a:pt x="280" y="369"/>
                  <a:pt x="280" y="369"/>
                </a:cubicBezTo>
                <a:cubicBezTo>
                  <a:pt x="275" y="349"/>
                  <a:pt x="275" y="349"/>
                  <a:pt x="275" y="349"/>
                </a:cubicBezTo>
                <a:cubicBezTo>
                  <a:pt x="264" y="338"/>
                  <a:pt x="255" y="328"/>
                  <a:pt x="245" y="319"/>
                </a:cubicBezTo>
                <a:cubicBezTo>
                  <a:pt x="236" y="309"/>
                  <a:pt x="226" y="299"/>
                  <a:pt x="216" y="289"/>
                </a:cubicBezTo>
                <a:cubicBezTo>
                  <a:pt x="196" y="284"/>
                  <a:pt x="196" y="284"/>
                  <a:pt x="196" y="284"/>
                </a:cubicBezTo>
                <a:cubicBezTo>
                  <a:pt x="184" y="272"/>
                  <a:pt x="184" y="272"/>
                  <a:pt x="184" y="272"/>
                </a:cubicBezTo>
                <a:cubicBezTo>
                  <a:pt x="178" y="248"/>
                  <a:pt x="178" y="248"/>
                  <a:pt x="178" y="248"/>
                </a:cubicBezTo>
                <a:cubicBezTo>
                  <a:pt x="184" y="242"/>
                  <a:pt x="184" y="242"/>
                  <a:pt x="184" y="242"/>
                </a:cubicBezTo>
                <a:cubicBezTo>
                  <a:pt x="204" y="262"/>
                  <a:pt x="204" y="262"/>
                  <a:pt x="204" y="262"/>
                </a:cubicBezTo>
                <a:cubicBezTo>
                  <a:pt x="217" y="249"/>
                  <a:pt x="217" y="249"/>
                  <a:pt x="217" y="249"/>
                </a:cubicBezTo>
                <a:cubicBezTo>
                  <a:pt x="197" y="229"/>
                  <a:pt x="197" y="229"/>
                  <a:pt x="197" y="229"/>
                </a:cubicBezTo>
                <a:cubicBezTo>
                  <a:pt x="203" y="223"/>
                  <a:pt x="203" y="223"/>
                  <a:pt x="203" y="223"/>
                </a:cubicBezTo>
                <a:cubicBezTo>
                  <a:pt x="226" y="229"/>
                  <a:pt x="226" y="229"/>
                  <a:pt x="226" y="229"/>
                </a:cubicBezTo>
                <a:cubicBezTo>
                  <a:pt x="238" y="241"/>
                  <a:pt x="238" y="241"/>
                  <a:pt x="238" y="241"/>
                </a:cubicBezTo>
                <a:cubicBezTo>
                  <a:pt x="243" y="261"/>
                  <a:pt x="243" y="261"/>
                  <a:pt x="243" y="261"/>
                </a:cubicBezTo>
                <a:cubicBezTo>
                  <a:pt x="303" y="321"/>
                  <a:pt x="303" y="321"/>
                  <a:pt x="303" y="321"/>
                </a:cubicBezTo>
                <a:cubicBezTo>
                  <a:pt x="322" y="326"/>
                  <a:pt x="322" y="326"/>
                  <a:pt x="322" y="326"/>
                </a:cubicBezTo>
                <a:cubicBezTo>
                  <a:pt x="334" y="338"/>
                  <a:pt x="334" y="338"/>
                  <a:pt x="334" y="338"/>
                </a:cubicBezTo>
                <a:cubicBezTo>
                  <a:pt x="336" y="345"/>
                  <a:pt x="336" y="345"/>
                  <a:pt x="336" y="345"/>
                </a:cubicBezTo>
                <a:cubicBezTo>
                  <a:pt x="340" y="361"/>
                  <a:pt x="340" y="361"/>
                  <a:pt x="340" y="361"/>
                </a:cubicBezTo>
                <a:cubicBezTo>
                  <a:pt x="334" y="368"/>
                  <a:pt x="334" y="368"/>
                  <a:pt x="334" y="368"/>
                </a:cubicBezTo>
                <a:cubicBezTo>
                  <a:pt x="315" y="347"/>
                  <a:pt x="315" y="347"/>
                  <a:pt x="315" y="347"/>
                </a:cubicBezTo>
                <a:cubicBezTo>
                  <a:pt x="301" y="361"/>
                  <a:pt x="301" y="361"/>
                  <a:pt x="301" y="361"/>
                </a:cubicBezTo>
                <a:cubicBezTo>
                  <a:pt x="321" y="381"/>
                  <a:pt x="321" y="381"/>
                  <a:pt x="321" y="381"/>
                </a:cubicBezTo>
                <a:lnTo>
                  <a:pt x="315" y="387"/>
                </a:lnTo>
                <a:close/>
                <a:moveTo>
                  <a:pt x="295" y="375"/>
                </a:moveTo>
                <a:cubicBezTo>
                  <a:pt x="312" y="380"/>
                  <a:pt x="312" y="380"/>
                  <a:pt x="312" y="380"/>
                </a:cubicBezTo>
                <a:cubicBezTo>
                  <a:pt x="297" y="365"/>
                  <a:pt x="297" y="365"/>
                  <a:pt x="297" y="365"/>
                </a:cubicBezTo>
                <a:cubicBezTo>
                  <a:pt x="296" y="364"/>
                  <a:pt x="295" y="363"/>
                  <a:pt x="295" y="361"/>
                </a:cubicBezTo>
                <a:cubicBezTo>
                  <a:pt x="295" y="360"/>
                  <a:pt x="296" y="358"/>
                  <a:pt x="297" y="357"/>
                </a:cubicBezTo>
                <a:cubicBezTo>
                  <a:pt x="311" y="343"/>
                  <a:pt x="311" y="343"/>
                  <a:pt x="311" y="343"/>
                </a:cubicBezTo>
                <a:cubicBezTo>
                  <a:pt x="313" y="341"/>
                  <a:pt x="316" y="341"/>
                  <a:pt x="319" y="343"/>
                </a:cubicBezTo>
                <a:cubicBezTo>
                  <a:pt x="333" y="358"/>
                  <a:pt x="333" y="358"/>
                  <a:pt x="333" y="358"/>
                </a:cubicBezTo>
                <a:cubicBezTo>
                  <a:pt x="329" y="341"/>
                  <a:pt x="329" y="341"/>
                  <a:pt x="329" y="341"/>
                </a:cubicBezTo>
                <a:cubicBezTo>
                  <a:pt x="319" y="331"/>
                  <a:pt x="319" y="331"/>
                  <a:pt x="319" y="331"/>
                </a:cubicBezTo>
                <a:cubicBezTo>
                  <a:pt x="300" y="327"/>
                  <a:pt x="300" y="327"/>
                  <a:pt x="300" y="327"/>
                </a:cubicBezTo>
                <a:cubicBezTo>
                  <a:pt x="238" y="264"/>
                  <a:pt x="238" y="264"/>
                  <a:pt x="238" y="264"/>
                </a:cubicBezTo>
                <a:cubicBezTo>
                  <a:pt x="233" y="244"/>
                  <a:pt x="233" y="244"/>
                  <a:pt x="233" y="244"/>
                </a:cubicBezTo>
                <a:cubicBezTo>
                  <a:pt x="223" y="234"/>
                  <a:pt x="223" y="234"/>
                  <a:pt x="223" y="234"/>
                </a:cubicBezTo>
                <a:cubicBezTo>
                  <a:pt x="206" y="230"/>
                  <a:pt x="206" y="230"/>
                  <a:pt x="206" y="230"/>
                </a:cubicBezTo>
                <a:cubicBezTo>
                  <a:pt x="221" y="245"/>
                  <a:pt x="221" y="245"/>
                  <a:pt x="221" y="245"/>
                </a:cubicBezTo>
                <a:cubicBezTo>
                  <a:pt x="222" y="246"/>
                  <a:pt x="223" y="247"/>
                  <a:pt x="223" y="249"/>
                </a:cubicBezTo>
                <a:cubicBezTo>
                  <a:pt x="223" y="250"/>
                  <a:pt x="222" y="252"/>
                  <a:pt x="221" y="253"/>
                </a:cubicBezTo>
                <a:cubicBezTo>
                  <a:pt x="208" y="267"/>
                  <a:pt x="208" y="267"/>
                  <a:pt x="208" y="267"/>
                </a:cubicBezTo>
                <a:cubicBezTo>
                  <a:pt x="207" y="268"/>
                  <a:pt x="205" y="268"/>
                  <a:pt x="204" y="268"/>
                </a:cubicBezTo>
                <a:cubicBezTo>
                  <a:pt x="202" y="268"/>
                  <a:pt x="201" y="268"/>
                  <a:pt x="200" y="267"/>
                </a:cubicBezTo>
                <a:cubicBezTo>
                  <a:pt x="185" y="252"/>
                  <a:pt x="185" y="252"/>
                  <a:pt x="185" y="252"/>
                </a:cubicBezTo>
                <a:cubicBezTo>
                  <a:pt x="189" y="269"/>
                  <a:pt x="189" y="269"/>
                  <a:pt x="189" y="269"/>
                </a:cubicBezTo>
                <a:cubicBezTo>
                  <a:pt x="199" y="278"/>
                  <a:pt x="199" y="278"/>
                  <a:pt x="199" y="278"/>
                </a:cubicBezTo>
                <a:cubicBezTo>
                  <a:pt x="219" y="283"/>
                  <a:pt x="219" y="283"/>
                  <a:pt x="219" y="283"/>
                </a:cubicBezTo>
                <a:cubicBezTo>
                  <a:pt x="219" y="284"/>
                  <a:pt x="219" y="284"/>
                  <a:pt x="219" y="284"/>
                </a:cubicBezTo>
                <a:cubicBezTo>
                  <a:pt x="230" y="295"/>
                  <a:pt x="240" y="305"/>
                  <a:pt x="249" y="314"/>
                </a:cubicBezTo>
                <a:cubicBezTo>
                  <a:pt x="259" y="324"/>
                  <a:pt x="269" y="334"/>
                  <a:pt x="280" y="345"/>
                </a:cubicBezTo>
                <a:cubicBezTo>
                  <a:pt x="280" y="346"/>
                  <a:pt x="280" y="346"/>
                  <a:pt x="280" y="346"/>
                </a:cubicBezTo>
                <a:cubicBezTo>
                  <a:pt x="285" y="366"/>
                  <a:pt x="285" y="366"/>
                  <a:pt x="285" y="366"/>
                </a:cubicBezTo>
                <a:lnTo>
                  <a:pt x="295" y="375"/>
                </a:lnTo>
                <a:close/>
                <a:moveTo>
                  <a:pt x="206" y="385"/>
                </a:moveTo>
                <a:cubicBezTo>
                  <a:pt x="178" y="357"/>
                  <a:pt x="178" y="357"/>
                  <a:pt x="178" y="357"/>
                </a:cubicBezTo>
                <a:cubicBezTo>
                  <a:pt x="229" y="305"/>
                  <a:pt x="229" y="305"/>
                  <a:pt x="229" y="305"/>
                </a:cubicBezTo>
                <a:cubicBezTo>
                  <a:pt x="257" y="333"/>
                  <a:pt x="257" y="333"/>
                  <a:pt x="257" y="333"/>
                </a:cubicBezTo>
                <a:lnTo>
                  <a:pt x="206" y="385"/>
                </a:lnTo>
                <a:close/>
                <a:moveTo>
                  <a:pt x="187" y="357"/>
                </a:moveTo>
                <a:cubicBezTo>
                  <a:pt x="206" y="376"/>
                  <a:pt x="206" y="376"/>
                  <a:pt x="206" y="376"/>
                </a:cubicBezTo>
                <a:cubicBezTo>
                  <a:pt x="248" y="333"/>
                  <a:pt x="248" y="333"/>
                  <a:pt x="248" y="333"/>
                </a:cubicBezTo>
                <a:cubicBezTo>
                  <a:pt x="229" y="314"/>
                  <a:pt x="229" y="314"/>
                  <a:pt x="229" y="314"/>
                </a:cubicBezTo>
                <a:lnTo>
                  <a:pt x="187" y="357"/>
                </a:lnTo>
                <a:close/>
                <a:moveTo>
                  <a:pt x="186" y="339"/>
                </a:moveTo>
                <a:cubicBezTo>
                  <a:pt x="0" y="339"/>
                  <a:pt x="0" y="339"/>
                  <a:pt x="0" y="339"/>
                </a:cubicBezTo>
                <a:cubicBezTo>
                  <a:pt x="0" y="336"/>
                  <a:pt x="0" y="336"/>
                  <a:pt x="0" y="336"/>
                </a:cubicBezTo>
                <a:cubicBezTo>
                  <a:pt x="1" y="307"/>
                  <a:pt x="22" y="222"/>
                  <a:pt x="31" y="220"/>
                </a:cubicBezTo>
                <a:cubicBezTo>
                  <a:pt x="99" y="198"/>
                  <a:pt x="99" y="198"/>
                  <a:pt x="99" y="198"/>
                </a:cubicBezTo>
                <a:cubicBezTo>
                  <a:pt x="100" y="199"/>
                  <a:pt x="100" y="199"/>
                  <a:pt x="100" y="199"/>
                </a:cubicBezTo>
                <a:cubicBezTo>
                  <a:pt x="110" y="212"/>
                  <a:pt x="119" y="220"/>
                  <a:pt x="130" y="224"/>
                </a:cubicBezTo>
                <a:cubicBezTo>
                  <a:pt x="140" y="228"/>
                  <a:pt x="159" y="228"/>
                  <a:pt x="169" y="224"/>
                </a:cubicBezTo>
                <a:cubicBezTo>
                  <a:pt x="180" y="220"/>
                  <a:pt x="189" y="212"/>
                  <a:pt x="199" y="199"/>
                </a:cubicBezTo>
                <a:cubicBezTo>
                  <a:pt x="200" y="198"/>
                  <a:pt x="200" y="198"/>
                  <a:pt x="200" y="198"/>
                </a:cubicBezTo>
                <a:cubicBezTo>
                  <a:pt x="266" y="219"/>
                  <a:pt x="266" y="219"/>
                  <a:pt x="266" y="219"/>
                </a:cubicBezTo>
                <a:cubicBezTo>
                  <a:pt x="264" y="225"/>
                  <a:pt x="264" y="225"/>
                  <a:pt x="264" y="225"/>
                </a:cubicBezTo>
                <a:cubicBezTo>
                  <a:pt x="202" y="205"/>
                  <a:pt x="202" y="205"/>
                  <a:pt x="202" y="205"/>
                </a:cubicBezTo>
                <a:cubicBezTo>
                  <a:pt x="192" y="218"/>
                  <a:pt x="182" y="226"/>
                  <a:pt x="171" y="230"/>
                </a:cubicBezTo>
                <a:cubicBezTo>
                  <a:pt x="160" y="234"/>
                  <a:pt x="139" y="234"/>
                  <a:pt x="128" y="230"/>
                </a:cubicBezTo>
                <a:cubicBezTo>
                  <a:pt x="117" y="226"/>
                  <a:pt x="107" y="218"/>
                  <a:pt x="97" y="205"/>
                </a:cubicBezTo>
                <a:cubicBezTo>
                  <a:pt x="33" y="225"/>
                  <a:pt x="33" y="225"/>
                  <a:pt x="33" y="225"/>
                </a:cubicBezTo>
                <a:cubicBezTo>
                  <a:pt x="28" y="232"/>
                  <a:pt x="8" y="300"/>
                  <a:pt x="7" y="333"/>
                </a:cubicBezTo>
                <a:cubicBezTo>
                  <a:pt x="186" y="333"/>
                  <a:pt x="186" y="333"/>
                  <a:pt x="186" y="333"/>
                </a:cubicBezTo>
                <a:lnTo>
                  <a:pt x="186" y="339"/>
                </a:lnTo>
                <a:close/>
                <a:moveTo>
                  <a:pt x="287" y="302"/>
                </a:moveTo>
                <a:cubicBezTo>
                  <a:pt x="260" y="275"/>
                  <a:pt x="260" y="275"/>
                  <a:pt x="260" y="275"/>
                </a:cubicBezTo>
                <a:cubicBezTo>
                  <a:pt x="278" y="256"/>
                  <a:pt x="278" y="256"/>
                  <a:pt x="278" y="256"/>
                </a:cubicBezTo>
                <a:cubicBezTo>
                  <a:pt x="260" y="239"/>
                  <a:pt x="260" y="239"/>
                  <a:pt x="260" y="239"/>
                </a:cubicBezTo>
                <a:cubicBezTo>
                  <a:pt x="277" y="222"/>
                  <a:pt x="277" y="222"/>
                  <a:pt x="277" y="222"/>
                </a:cubicBezTo>
                <a:cubicBezTo>
                  <a:pt x="306" y="226"/>
                  <a:pt x="306" y="226"/>
                  <a:pt x="306" y="226"/>
                </a:cubicBezTo>
                <a:cubicBezTo>
                  <a:pt x="351" y="272"/>
                  <a:pt x="351" y="272"/>
                  <a:pt x="351" y="272"/>
                </a:cubicBezTo>
                <a:cubicBezTo>
                  <a:pt x="322" y="301"/>
                  <a:pt x="322" y="301"/>
                  <a:pt x="322" y="301"/>
                </a:cubicBezTo>
                <a:cubicBezTo>
                  <a:pt x="305" y="284"/>
                  <a:pt x="305" y="284"/>
                  <a:pt x="305" y="284"/>
                </a:cubicBezTo>
                <a:lnTo>
                  <a:pt x="287" y="302"/>
                </a:lnTo>
                <a:close/>
                <a:moveTo>
                  <a:pt x="268" y="275"/>
                </a:moveTo>
                <a:cubicBezTo>
                  <a:pt x="287" y="294"/>
                  <a:pt x="287" y="294"/>
                  <a:pt x="287" y="294"/>
                </a:cubicBezTo>
                <a:cubicBezTo>
                  <a:pt x="305" y="276"/>
                  <a:pt x="305" y="276"/>
                  <a:pt x="305" y="276"/>
                </a:cubicBezTo>
                <a:cubicBezTo>
                  <a:pt x="322" y="293"/>
                  <a:pt x="322" y="293"/>
                  <a:pt x="322" y="293"/>
                </a:cubicBezTo>
                <a:cubicBezTo>
                  <a:pt x="343" y="272"/>
                  <a:pt x="343" y="272"/>
                  <a:pt x="343" y="272"/>
                </a:cubicBezTo>
                <a:cubicBezTo>
                  <a:pt x="303" y="232"/>
                  <a:pt x="303" y="232"/>
                  <a:pt x="303" y="232"/>
                </a:cubicBezTo>
                <a:cubicBezTo>
                  <a:pt x="279" y="229"/>
                  <a:pt x="279" y="229"/>
                  <a:pt x="279" y="229"/>
                </a:cubicBezTo>
                <a:cubicBezTo>
                  <a:pt x="269" y="239"/>
                  <a:pt x="269" y="239"/>
                  <a:pt x="269" y="239"/>
                </a:cubicBezTo>
                <a:cubicBezTo>
                  <a:pt x="286" y="257"/>
                  <a:pt x="286" y="257"/>
                  <a:pt x="286" y="257"/>
                </a:cubicBezTo>
                <a:lnTo>
                  <a:pt x="268" y="275"/>
                </a:lnTo>
                <a:close/>
                <a:moveTo>
                  <a:pt x="149" y="220"/>
                </a:moveTo>
                <a:cubicBezTo>
                  <a:pt x="142" y="220"/>
                  <a:pt x="135" y="219"/>
                  <a:pt x="129" y="216"/>
                </a:cubicBezTo>
                <a:cubicBezTo>
                  <a:pt x="108" y="207"/>
                  <a:pt x="94" y="188"/>
                  <a:pt x="87" y="162"/>
                </a:cubicBezTo>
                <a:cubicBezTo>
                  <a:pt x="76" y="155"/>
                  <a:pt x="73" y="136"/>
                  <a:pt x="72" y="12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72" y="126"/>
                  <a:pt x="72" y="123"/>
                  <a:pt x="72" y="119"/>
                </a:cubicBezTo>
                <a:cubicBezTo>
                  <a:pt x="72" y="116"/>
                  <a:pt x="72" y="116"/>
                  <a:pt x="72" y="116"/>
                </a:cubicBezTo>
                <a:cubicBezTo>
                  <a:pt x="226" y="116"/>
                  <a:pt x="226" y="116"/>
                  <a:pt x="226" y="116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6" y="123"/>
                  <a:pt x="226" y="126"/>
                  <a:pt x="225" y="129"/>
                </a:cubicBezTo>
                <a:cubicBezTo>
                  <a:pt x="225" y="135"/>
                  <a:pt x="222" y="155"/>
                  <a:pt x="211" y="162"/>
                </a:cubicBezTo>
                <a:cubicBezTo>
                  <a:pt x="204" y="188"/>
                  <a:pt x="189" y="207"/>
                  <a:pt x="169" y="216"/>
                </a:cubicBezTo>
                <a:cubicBezTo>
                  <a:pt x="162" y="219"/>
                  <a:pt x="156" y="220"/>
                  <a:pt x="149" y="220"/>
                </a:cubicBezTo>
                <a:close/>
                <a:moveTo>
                  <a:pt x="78" y="128"/>
                </a:moveTo>
                <a:cubicBezTo>
                  <a:pt x="79" y="140"/>
                  <a:pt x="83" y="153"/>
                  <a:pt x="91" y="158"/>
                </a:cubicBezTo>
                <a:cubicBezTo>
                  <a:pt x="92" y="158"/>
                  <a:pt x="92" y="158"/>
                  <a:pt x="92" y="158"/>
                </a:cubicBezTo>
                <a:cubicBezTo>
                  <a:pt x="92" y="159"/>
                  <a:pt x="92" y="159"/>
                  <a:pt x="92" y="159"/>
                </a:cubicBezTo>
                <a:cubicBezTo>
                  <a:pt x="97" y="177"/>
                  <a:pt x="107" y="200"/>
                  <a:pt x="131" y="210"/>
                </a:cubicBezTo>
                <a:cubicBezTo>
                  <a:pt x="142" y="215"/>
                  <a:pt x="155" y="215"/>
                  <a:pt x="166" y="210"/>
                </a:cubicBezTo>
                <a:cubicBezTo>
                  <a:pt x="191" y="200"/>
                  <a:pt x="201" y="177"/>
                  <a:pt x="206" y="159"/>
                </a:cubicBezTo>
                <a:cubicBezTo>
                  <a:pt x="206" y="158"/>
                  <a:pt x="206" y="158"/>
                  <a:pt x="206" y="158"/>
                </a:cubicBezTo>
                <a:cubicBezTo>
                  <a:pt x="207" y="158"/>
                  <a:pt x="207" y="158"/>
                  <a:pt x="207" y="158"/>
                </a:cubicBezTo>
                <a:cubicBezTo>
                  <a:pt x="214" y="153"/>
                  <a:pt x="218" y="139"/>
                  <a:pt x="219" y="128"/>
                </a:cubicBezTo>
                <a:cubicBezTo>
                  <a:pt x="220" y="127"/>
                  <a:pt x="220" y="125"/>
                  <a:pt x="220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8" y="125"/>
                  <a:pt x="78" y="127"/>
                  <a:pt x="78" y="128"/>
                </a:cubicBezTo>
                <a:close/>
                <a:moveTo>
                  <a:pt x="231" y="109"/>
                </a:moveTo>
                <a:cubicBezTo>
                  <a:pt x="68" y="109"/>
                  <a:pt x="68" y="109"/>
                  <a:pt x="68" y="109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68" y="102"/>
                  <a:pt x="68" y="98"/>
                  <a:pt x="68" y="93"/>
                </a:cubicBezTo>
                <a:cubicBezTo>
                  <a:pt x="69" y="86"/>
                  <a:pt x="71" y="84"/>
                  <a:pt x="73" y="82"/>
                </a:cubicBezTo>
                <a:cubicBezTo>
                  <a:pt x="74" y="81"/>
                  <a:pt x="74" y="81"/>
                  <a:pt x="74" y="80"/>
                </a:cubicBezTo>
                <a:cubicBezTo>
                  <a:pt x="76" y="57"/>
                  <a:pt x="89" y="35"/>
                  <a:pt x="109" y="21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4" y="30"/>
                  <a:pt x="116" y="36"/>
                  <a:pt x="117" y="42"/>
                </a:cubicBezTo>
                <a:cubicBezTo>
                  <a:pt x="116" y="34"/>
                  <a:pt x="115" y="27"/>
                  <a:pt x="115" y="20"/>
                </a:cubicBezTo>
                <a:cubicBezTo>
                  <a:pt x="115" y="17"/>
                  <a:pt x="115" y="11"/>
                  <a:pt x="120" y="9"/>
                </a:cubicBezTo>
                <a:cubicBezTo>
                  <a:pt x="139" y="0"/>
                  <a:pt x="160" y="0"/>
                  <a:pt x="179" y="9"/>
                </a:cubicBezTo>
                <a:cubicBezTo>
                  <a:pt x="183" y="11"/>
                  <a:pt x="184" y="17"/>
                  <a:pt x="184" y="20"/>
                </a:cubicBezTo>
                <a:cubicBezTo>
                  <a:pt x="184" y="27"/>
                  <a:pt x="183" y="33"/>
                  <a:pt x="182" y="41"/>
                </a:cubicBezTo>
                <a:cubicBezTo>
                  <a:pt x="183" y="35"/>
                  <a:pt x="185" y="29"/>
                  <a:pt x="186" y="23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0" y="21"/>
                  <a:pt x="190" y="21"/>
                  <a:pt x="190" y="21"/>
                </a:cubicBezTo>
                <a:cubicBezTo>
                  <a:pt x="210" y="35"/>
                  <a:pt x="223" y="57"/>
                  <a:pt x="225" y="80"/>
                </a:cubicBezTo>
                <a:cubicBezTo>
                  <a:pt x="225" y="81"/>
                  <a:pt x="225" y="81"/>
                  <a:pt x="226" y="82"/>
                </a:cubicBezTo>
                <a:cubicBezTo>
                  <a:pt x="228" y="84"/>
                  <a:pt x="230" y="86"/>
                  <a:pt x="231" y="93"/>
                </a:cubicBezTo>
                <a:cubicBezTo>
                  <a:pt x="231" y="98"/>
                  <a:pt x="232" y="102"/>
                  <a:pt x="231" y="106"/>
                </a:cubicBezTo>
                <a:lnTo>
                  <a:pt x="231" y="109"/>
                </a:lnTo>
                <a:close/>
                <a:moveTo>
                  <a:pt x="168" y="103"/>
                </a:moveTo>
                <a:cubicBezTo>
                  <a:pt x="225" y="103"/>
                  <a:pt x="225" y="103"/>
                  <a:pt x="225" y="103"/>
                </a:cubicBezTo>
                <a:cubicBezTo>
                  <a:pt x="225" y="100"/>
                  <a:pt x="225" y="97"/>
                  <a:pt x="225" y="94"/>
                </a:cubicBezTo>
                <a:cubicBezTo>
                  <a:pt x="225" y="94"/>
                  <a:pt x="225" y="94"/>
                  <a:pt x="225" y="94"/>
                </a:cubicBezTo>
                <a:cubicBezTo>
                  <a:pt x="224" y="88"/>
                  <a:pt x="223" y="87"/>
                  <a:pt x="222" y="86"/>
                </a:cubicBezTo>
                <a:cubicBezTo>
                  <a:pt x="221" y="85"/>
                  <a:pt x="219" y="84"/>
                  <a:pt x="219" y="80"/>
                </a:cubicBezTo>
                <a:cubicBezTo>
                  <a:pt x="217" y="61"/>
                  <a:pt x="207" y="42"/>
                  <a:pt x="191" y="29"/>
                </a:cubicBezTo>
                <a:cubicBezTo>
                  <a:pt x="185" y="60"/>
                  <a:pt x="176" y="84"/>
                  <a:pt x="176" y="84"/>
                </a:cubicBezTo>
                <a:lnTo>
                  <a:pt x="168" y="103"/>
                </a:lnTo>
                <a:close/>
                <a:moveTo>
                  <a:pt x="132" y="103"/>
                </a:moveTo>
                <a:cubicBezTo>
                  <a:pt x="167" y="103"/>
                  <a:pt x="167" y="103"/>
                  <a:pt x="167" y="103"/>
                </a:cubicBezTo>
                <a:cubicBezTo>
                  <a:pt x="170" y="83"/>
                  <a:pt x="170" y="83"/>
                  <a:pt x="170" y="83"/>
                </a:cubicBezTo>
                <a:cubicBezTo>
                  <a:pt x="171" y="74"/>
                  <a:pt x="172" y="66"/>
                  <a:pt x="174" y="57"/>
                </a:cubicBezTo>
                <a:cubicBezTo>
                  <a:pt x="176" y="43"/>
                  <a:pt x="178" y="30"/>
                  <a:pt x="178" y="20"/>
                </a:cubicBezTo>
                <a:cubicBezTo>
                  <a:pt x="178" y="17"/>
                  <a:pt x="177" y="14"/>
                  <a:pt x="176" y="14"/>
                </a:cubicBezTo>
                <a:cubicBezTo>
                  <a:pt x="159" y="6"/>
                  <a:pt x="140" y="6"/>
                  <a:pt x="122" y="14"/>
                </a:cubicBezTo>
                <a:cubicBezTo>
                  <a:pt x="122" y="14"/>
                  <a:pt x="121" y="17"/>
                  <a:pt x="121" y="20"/>
                </a:cubicBezTo>
                <a:cubicBezTo>
                  <a:pt x="121" y="30"/>
                  <a:pt x="123" y="43"/>
                  <a:pt x="125" y="57"/>
                </a:cubicBezTo>
                <a:cubicBezTo>
                  <a:pt x="127" y="66"/>
                  <a:pt x="128" y="74"/>
                  <a:pt x="129" y="83"/>
                </a:cubicBezTo>
                <a:lnTo>
                  <a:pt x="132" y="103"/>
                </a:lnTo>
                <a:close/>
                <a:moveTo>
                  <a:pt x="74" y="103"/>
                </a:moveTo>
                <a:cubicBezTo>
                  <a:pt x="131" y="103"/>
                  <a:pt x="131" y="103"/>
                  <a:pt x="131" y="103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3" y="84"/>
                  <a:pt x="114" y="60"/>
                  <a:pt x="108" y="29"/>
                </a:cubicBezTo>
                <a:cubicBezTo>
                  <a:pt x="92" y="41"/>
                  <a:pt x="82" y="60"/>
                  <a:pt x="80" y="80"/>
                </a:cubicBezTo>
                <a:cubicBezTo>
                  <a:pt x="80" y="84"/>
                  <a:pt x="78" y="85"/>
                  <a:pt x="77" y="86"/>
                </a:cubicBezTo>
                <a:cubicBezTo>
                  <a:pt x="76" y="87"/>
                  <a:pt x="75" y="88"/>
                  <a:pt x="74" y="94"/>
                </a:cubicBezTo>
                <a:cubicBezTo>
                  <a:pt x="74" y="97"/>
                  <a:pt x="74" y="100"/>
                  <a:pt x="74" y="103"/>
                </a:cubicBezTo>
                <a:close/>
              </a:path>
            </a:pathLst>
          </a:custGeom>
          <a:solidFill>
            <a:srgbClr val="231815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pPr defTabSz="685617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350" b="1">
              <a:solidFill>
                <a:srgbClr val="CC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1" name="Rectangle 4"/>
          <p:cNvSpPr>
            <a:spLocks noChangeArrowheads="1"/>
          </p:cNvSpPr>
          <p:nvPr/>
        </p:nvSpPr>
        <p:spPr bwMode="auto">
          <a:xfrm>
            <a:off x="443347" y="1123950"/>
            <a:ext cx="3401491" cy="377902"/>
          </a:xfrm>
          <a:prstGeom prst="rect">
            <a:avLst/>
          </a:prstGeom>
          <a:solidFill>
            <a:srgbClr val="FFC000"/>
          </a:solidFill>
          <a:ln w="19050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35748" tIns="17874" rIns="35748" bIns="17874" anchor="ctr">
            <a:noAutofit/>
          </a:bodyPr>
          <a:lstStyle/>
          <a:p>
            <a:pPr algn="ctr" defTabSz="342809"/>
            <a:r>
              <a:rPr lang="zh-CN" altLang="en-US" sz="15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华为智慧城市解决方案</a:t>
            </a:r>
          </a:p>
        </p:txBody>
      </p:sp>
      <p:grpSp>
        <p:nvGrpSpPr>
          <p:cNvPr id="212" name="组合 855"/>
          <p:cNvGrpSpPr/>
          <p:nvPr/>
        </p:nvGrpSpPr>
        <p:grpSpPr>
          <a:xfrm>
            <a:off x="4546735" y="3372185"/>
            <a:ext cx="479023" cy="501784"/>
            <a:chOff x="14066838" y="512763"/>
            <a:chExt cx="895350" cy="906463"/>
          </a:xfrm>
        </p:grpSpPr>
        <p:sp>
          <p:nvSpPr>
            <p:cNvPr id="213" name="Freeform 26"/>
            <p:cNvSpPr>
              <a:spLocks noEditPoints="1"/>
            </p:cNvSpPr>
            <p:nvPr/>
          </p:nvSpPr>
          <p:spPr bwMode="auto">
            <a:xfrm>
              <a:off x="14066838" y="1317626"/>
              <a:ext cx="895350" cy="101600"/>
            </a:xfrm>
            <a:custGeom>
              <a:avLst/>
              <a:gdLst/>
              <a:ahLst/>
              <a:cxnLst>
                <a:cxn ang="0">
                  <a:pos x="266" y="32"/>
                </a:cxn>
                <a:cxn ang="0">
                  <a:pos x="16" y="32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66" y="0"/>
                </a:cxn>
                <a:cxn ang="0">
                  <a:pos x="282" y="16"/>
                </a:cxn>
                <a:cxn ang="0">
                  <a:pos x="266" y="32"/>
                </a:cxn>
                <a:cxn ang="0">
                  <a:pos x="16" y="6"/>
                </a:cxn>
                <a:cxn ang="0">
                  <a:pos x="6" y="16"/>
                </a:cxn>
                <a:cxn ang="0">
                  <a:pos x="16" y="26"/>
                </a:cxn>
                <a:cxn ang="0">
                  <a:pos x="266" y="26"/>
                </a:cxn>
                <a:cxn ang="0">
                  <a:pos x="276" y="16"/>
                </a:cxn>
                <a:cxn ang="0">
                  <a:pos x="266" y="6"/>
                </a:cxn>
                <a:cxn ang="0">
                  <a:pos x="16" y="6"/>
                </a:cxn>
              </a:cxnLst>
              <a:rect l="0" t="0" r="r" b="b"/>
              <a:pathLst>
                <a:path w="282" h="32">
                  <a:moveTo>
                    <a:pt x="26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4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4" y="0"/>
                    <a:pt x="282" y="7"/>
                    <a:pt x="282" y="16"/>
                  </a:cubicBezTo>
                  <a:cubicBezTo>
                    <a:pt x="282" y="24"/>
                    <a:pt x="274" y="32"/>
                    <a:pt x="266" y="32"/>
                  </a:cubicBezTo>
                  <a:close/>
                  <a:moveTo>
                    <a:pt x="16" y="6"/>
                  </a:moveTo>
                  <a:cubicBezTo>
                    <a:pt x="10" y="6"/>
                    <a:pt x="6" y="10"/>
                    <a:pt x="6" y="16"/>
                  </a:cubicBezTo>
                  <a:cubicBezTo>
                    <a:pt x="6" y="21"/>
                    <a:pt x="10" y="26"/>
                    <a:pt x="16" y="26"/>
                  </a:cubicBezTo>
                  <a:cubicBezTo>
                    <a:pt x="266" y="26"/>
                    <a:pt x="266" y="26"/>
                    <a:pt x="266" y="26"/>
                  </a:cubicBezTo>
                  <a:cubicBezTo>
                    <a:pt x="271" y="26"/>
                    <a:pt x="276" y="21"/>
                    <a:pt x="276" y="16"/>
                  </a:cubicBezTo>
                  <a:cubicBezTo>
                    <a:pt x="276" y="10"/>
                    <a:pt x="271" y="6"/>
                    <a:pt x="266" y="6"/>
                  </a:cubicBezTo>
                  <a:lnTo>
                    <a:pt x="16" y="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4" name="Freeform 27"/>
            <p:cNvSpPr>
              <a:spLocks noEditPoints="1"/>
            </p:cNvSpPr>
            <p:nvPr/>
          </p:nvSpPr>
          <p:spPr bwMode="auto">
            <a:xfrm>
              <a:off x="14168438" y="879476"/>
              <a:ext cx="679450" cy="428625"/>
            </a:xfrm>
            <a:custGeom>
              <a:avLst/>
              <a:gdLst/>
              <a:ahLst/>
              <a:cxnLst>
                <a:cxn ang="0">
                  <a:pos x="161" y="135"/>
                </a:cxn>
                <a:cxn ang="0">
                  <a:pos x="162" y="131"/>
                </a:cxn>
                <a:cxn ang="0">
                  <a:pos x="173" y="62"/>
                </a:cxn>
                <a:cxn ang="0">
                  <a:pos x="172" y="59"/>
                </a:cxn>
                <a:cxn ang="0">
                  <a:pos x="171" y="58"/>
                </a:cxn>
                <a:cxn ang="0">
                  <a:pos x="168" y="56"/>
                </a:cxn>
                <a:cxn ang="0">
                  <a:pos x="112" y="56"/>
                </a:cxn>
                <a:cxn ang="0">
                  <a:pos x="109" y="50"/>
                </a:cxn>
                <a:cxn ang="0">
                  <a:pos x="106" y="56"/>
                </a:cxn>
                <a:cxn ang="0">
                  <a:pos x="50" y="56"/>
                </a:cxn>
                <a:cxn ang="0">
                  <a:pos x="47" y="58"/>
                </a:cxn>
                <a:cxn ang="0">
                  <a:pos x="46" y="59"/>
                </a:cxn>
                <a:cxn ang="0">
                  <a:pos x="45" y="62"/>
                </a:cxn>
                <a:cxn ang="0">
                  <a:pos x="57" y="133"/>
                </a:cxn>
                <a:cxn ang="0">
                  <a:pos x="53" y="133"/>
                </a:cxn>
                <a:cxn ang="0">
                  <a:pos x="17" y="132"/>
                </a:cxn>
                <a:cxn ang="0">
                  <a:pos x="4" y="91"/>
                </a:cxn>
                <a:cxn ang="0">
                  <a:pos x="4" y="90"/>
                </a:cxn>
                <a:cxn ang="0">
                  <a:pos x="4" y="90"/>
                </a:cxn>
                <a:cxn ang="0">
                  <a:pos x="109" y="0"/>
                </a:cxn>
                <a:cxn ang="0">
                  <a:pos x="211" y="89"/>
                </a:cxn>
                <a:cxn ang="0">
                  <a:pos x="211" y="91"/>
                </a:cxn>
                <a:cxn ang="0">
                  <a:pos x="207" y="127"/>
                </a:cxn>
                <a:cxn ang="0">
                  <a:pos x="191" y="133"/>
                </a:cxn>
                <a:cxn ang="0">
                  <a:pos x="165" y="134"/>
                </a:cxn>
                <a:cxn ang="0">
                  <a:pos x="161" y="135"/>
                </a:cxn>
                <a:cxn ang="0">
                  <a:pos x="176" y="55"/>
                </a:cxn>
                <a:cxn ang="0">
                  <a:pos x="179" y="63"/>
                </a:cxn>
                <a:cxn ang="0">
                  <a:pos x="179" y="63"/>
                </a:cxn>
                <a:cxn ang="0">
                  <a:pos x="168" y="128"/>
                </a:cxn>
                <a:cxn ang="0">
                  <a:pos x="191" y="127"/>
                </a:cxn>
                <a:cxn ang="0">
                  <a:pos x="203" y="123"/>
                </a:cxn>
                <a:cxn ang="0">
                  <a:pos x="205" y="91"/>
                </a:cxn>
                <a:cxn ang="0">
                  <a:pos x="205" y="90"/>
                </a:cxn>
                <a:cxn ang="0">
                  <a:pos x="109" y="6"/>
                </a:cxn>
                <a:cxn ang="0">
                  <a:pos x="10" y="90"/>
                </a:cxn>
                <a:cxn ang="0">
                  <a:pos x="10" y="90"/>
                </a:cxn>
                <a:cxn ang="0">
                  <a:pos x="10" y="92"/>
                </a:cxn>
                <a:cxn ang="0">
                  <a:pos x="20" y="126"/>
                </a:cxn>
                <a:cxn ang="0">
                  <a:pos x="20" y="126"/>
                </a:cxn>
                <a:cxn ang="0">
                  <a:pos x="50" y="127"/>
                </a:cxn>
                <a:cxn ang="0">
                  <a:pos x="39" y="63"/>
                </a:cxn>
                <a:cxn ang="0">
                  <a:pos x="42" y="55"/>
                </a:cxn>
                <a:cxn ang="0">
                  <a:pos x="50" y="50"/>
                </a:cxn>
                <a:cxn ang="0">
                  <a:pos x="102" y="50"/>
                </a:cxn>
                <a:cxn ang="0">
                  <a:pos x="104" y="46"/>
                </a:cxn>
                <a:cxn ang="0">
                  <a:pos x="109" y="42"/>
                </a:cxn>
                <a:cxn ang="0">
                  <a:pos x="114" y="47"/>
                </a:cxn>
                <a:cxn ang="0">
                  <a:pos x="116" y="50"/>
                </a:cxn>
                <a:cxn ang="0">
                  <a:pos x="168" y="50"/>
                </a:cxn>
                <a:cxn ang="0">
                  <a:pos x="176" y="55"/>
                </a:cxn>
              </a:cxnLst>
              <a:rect l="0" t="0" r="r" b="b"/>
              <a:pathLst>
                <a:path w="214" h="135">
                  <a:moveTo>
                    <a:pt x="161" y="135"/>
                  </a:moveTo>
                  <a:cubicBezTo>
                    <a:pt x="162" y="131"/>
                    <a:pt x="162" y="131"/>
                    <a:pt x="162" y="131"/>
                  </a:cubicBezTo>
                  <a:cubicBezTo>
                    <a:pt x="173" y="62"/>
                    <a:pt x="173" y="62"/>
                    <a:pt x="173" y="62"/>
                  </a:cubicBezTo>
                  <a:cubicBezTo>
                    <a:pt x="173" y="61"/>
                    <a:pt x="172" y="59"/>
                    <a:pt x="172" y="59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0" y="57"/>
                    <a:pt x="169" y="56"/>
                    <a:pt x="168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9" y="56"/>
                    <a:pt x="48" y="57"/>
                    <a:pt x="47" y="58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5" y="61"/>
                    <a:pt x="45" y="62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24" y="133"/>
                    <a:pt x="19" y="133"/>
                    <a:pt x="17" y="132"/>
                  </a:cubicBezTo>
                  <a:cubicBezTo>
                    <a:pt x="0" y="124"/>
                    <a:pt x="2" y="110"/>
                    <a:pt x="4" y="91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42"/>
                    <a:pt x="53" y="0"/>
                    <a:pt x="109" y="0"/>
                  </a:cubicBezTo>
                  <a:cubicBezTo>
                    <a:pt x="162" y="0"/>
                    <a:pt x="206" y="39"/>
                    <a:pt x="211" y="89"/>
                  </a:cubicBezTo>
                  <a:cubicBezTo>
                    <a:pt x="211" y="91"/>
                    <a:pt x="211" y="91"/>
                    <a:pt x="211" y="91"/>
                  </a:cubicBezTo>
                  <a:cubicBezTo>
                    <a:pt x="212" y="105"/>
                    <a:pt x="214" y="119"/>
                    <a:pt x="207" y="127"/>
                  </a:cubicBezTo>
                  <a:cubicBezTo>
                    <a:pt x="204" y="131"/>
                    <a:pt x="199" y="133"/>
                    <a:pt x="191" y="133"/>
                  </a:cubicBezTo>
                  <a:cubicBezTo>
                    <a:pt x="175" y="133"/>
                    <a:pt x="167" y="134"/>
                    <a:pt x="165" y="134"/>
                  </a:cubicBezTo>
                  <a:lnTo>
                    <a:pt x="161" y="135"/>
                  </a:lnTo>
                  <a:close/>
                  <a:moveTo>
                    <a:pt x="176" y="55"/>
                  </a:moveTo>
                  <a:cubicBezTo>
                    <a:pt x="178" y="57"/>
                    <a:pt x="179" y="60"/>
                    <a:pt x="179" y="63"/>
                  </a:cubicBezTo>
                  <a:cubicBezTo>
                    <a:pt x="179" y="63"/>
                    <a:pt x="179" y="63"/>
                    <a:pt x="179" y="63"/>
                  </a:cubicBezTo>
                  <a:cubicBezTo>
                    <a:pt x="168" y="128"/>
                    <a:pt x="168" y="128"/>
                    <a:pt x="168" y="128"/>
                  </a:cubicBezTo>
                  <a:cubicBezTo>
                    <a:pt x="173" y="127"/>
                    <a:pt x="180" y="127"/>
                    <a:pt x="191" y="127"/>
                  </a:cubicBezTo>
                  <a:cubicBezTo>
                    <a:pt x="197" y="127"/>
                    <a:pt x="200" y="126"/>
                    <a:pt x="203" y="123"/>
                  </a:cubicBezTo>
                  <a:cubicBezTo>
                    <a:pt x="208" y="117"/>
                    <a:pt x="206" y="105"/>
                    <a:pt x="205" y="91"/>
                  </a:cubicBezTo>
                  <a:cubicBezTo>
                    <a:pt x="205" y="90"/>
                    <a:pt x="205" y="90"/>
                    <a:pt x="205" y="90"/>
                  </a:cubicBezTo>
                  <a:cubicBezTo>
                    <a:pt x="201" y="43"/>
                    <a:pt x="159" y="6"/>
                    <a:pt x="109" y="6"/>
                  </a:cubicBezTo>
                  <a:cubicBezTo>
                    <a:pt x="56" y="6"/>
                    <a:pt x="10" y="45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7" y="112"/>
                    <a:pt x="7" y="121"/>
                    <a:pt x="20" y="126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3" y="127"/>
                    <a:pt x="35" y="127"/>
                    <a:pt x="50" y="127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0"/>
                    <a:pt x="40" y="57"/>
                    <a:pt x="42" y="55"/>
                  </a:cubicBezTo>
                  <a:cubicBezTo>
                    <a:pt x="44" y="52"/>
                    <a:pt x="47" y="50"/>
                    <a:pt x="50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5" y="43"/>
                    <a:pt x="108" y="42"/>
                    <a:pt x="109" y="42"/>
                  </a:cubicBezTo>
                  <a:cubicBezTo>
                    <a:pt x="110" y="42"/>
                    <a:pt x="113" y="43"/>
                    <a:pt x="114" y="4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71" y="50"/>
                    <a:pt x="174" y="52"/>
                    <a:pt x="176" y="5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5" name="Freeform 28"/>
            <p:cNvSpPr>
              <a:spLocks noEditPoints="1"/>
            </p:cNvSpPr>
            <p:nvPr/>
          </p:nvSpPr>
          <p:spPr bwMode="auto">
            <a:xfrm>
              <a:off x="14441488" y="930276"/>
              <a:ext cx="146050" cy="82550"/>
            </a:xfrm>
            <a:custGeom>
              <a:avLst/>
              <a:gdLst/>
              <a:ahLst/>
              <a:cxnLst>
                <a:cxn ang="0">
                  <a:pos x="23" y="26"/>
                </a:cxn>
                <a:cxn ang="0">
                  <a:pos x="17" y="23"/>
                </a:cxn>
                <a:cxn ang="0">
                  <a:pos x="3" y="9"/>
                </a:cxn>
                <a:cxn ang="0">
                  <a:pos x="1" y="3"/>
                </a:cxn>
                <a:cxn ang="0">
                  <a:pos x="7" y="0"/>
                </a:cxn>
                <a:cxn ang="0">
                  <a:pos x="39" y="0"/>
                </a:cxn>
                <a:cxn ang="0">
                  <a:pos x="45" y="3"/>
                </a:cxn>
                <a:cxn ang="0">
                  <a:pos x="43" y="9"/>
                </a:cxn>
                <a:cxn ang="0">
                  <a:pos x="29" y="23"/>
                </a:cxn>
                <a:cxn ang="0">
                  <a:pos x="23" y="26"/>
                </a:cxn>
                <a:cxn ang="0">
                  <a:pos x="8" y="6"/>
                </a:cxn>
                <a:cxn ang="0">
                  <a:pos x="21" y="19"/>
                </a:cxn>
                <a:cxn ang="0">
                  <a:pos x="23" y="20"/>
                </a:cxn>
                <a:cxn ang="0">
                  <a:pos x="25" y="19"/>
                </a:cxn>
                <a:cxn ang="0">
                  <a:pos x="38" y="6"/>
                </a:cxn>
                <a:cxn ang="0">
                  <a:pos x="8" y="6"/>
                </a:cxn>
              </a:cxnLst>
              <a:rect l="0" t="0" r="r" b="b"/>
              <a:pathLst>
                <a:path w="46" h="26">
                  <a:moveTo>
                    <a:pt x="23" y="26"/>
                  </a:moveTo>
                  <a:cubicBezTo>
                    <a:pt x="20" y="26"/>
                    <a:pt x="18" y="25"/>
                    <a:pt x="17" y="2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2" y="1"/>
                    <a:pt x="4" y="0"/>
                    <a:pt x="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2" y="0"/>
                    <a:pt x="44" y="1"/>
                    <a:pt x="45" y="3"/>
                  </a:cubicBezTo>
                  <a:cubicBezTo>
                    <a:pt x="45" y="4"/>
                    <a:pt x="46" y="6"/>
                    <a:pt x="43" y="9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8" y="25"/>
                    <a:pt x="25" y="26"/>
                    <a:pt x="23" y="26"/>
                  </a:cubicBezTo>
                  <a:close/>
                  <a:moveTo>
                    <a:pt x="8" y="6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2" y="19"/>
                    <a:pt x="22" y="20"/>
                    <a:pt x="23" y="20"/>
                  </a:cubicBezTo>
                  <a:cubicBezTo>
                    <a:pt x="24" y="20"/>
                    <a:pt x="24" y="19"/>
                    <a:pt x="25" y="19"/>
                  </a:cubicBezTo>
                  <a:cubicBezTo>
                    <a:pt x="38" y="6"/>
                    <a:pt x="38" y="6"/>
                    <a:pt x="38" y="6"/>
                  </a:cubicBezTo>
                  <a:lnTo>
                    <a:pt x="8" y="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6" name="Freeform 29"/>
            <p:cNvSpPr>
              <a:spLocks noEditPoints="1"/>
            </p:cNvSpPr>
            <p:nvPr/>
          </p:nvSpPr>
          <p:spPr bwMode="auto">
            <a:xfrm>
              <a:off x="14336713" y="512763"/>
              <a:ext cx="355600" cy="349250"/>
            </a:xfrm>
            <a:custGeom>
              <a:avLst/>
              <a:gdLst/>
              <a:ahLst/>
              <a:cxnLst>
                <a:cxn ang="0">
                  <a:pos x="56" y="110"/>
                </a:cxn>
                <a:cxn ang="0">
                  <a:pos x="50" y="110"/>
                </a:cxn>
                <a:cxn ang="0">
                  <a:pos x="1" y="61"/>
                </a:cxn>
                <a:cxn ang="0">
                  <a:pos x="15" y="19"/>
                </a:cxn>
                <a:cxn ang="0">
                  <a:pos x="62" y="1"/>
                </a:cxn>
                <a:cxn ang="0">
                  <a:pos x="111" y="50"/>
                </a:cxn>
                <a:cxn ang="0">
                  <a:pos x="97" y="92"/>
                </a:cxn>
                <a:cxn ang="0">
                  <a:pos x="56" y="110"/>
                </a:cxn>
                <a:cxn ang="0">
                  <a:pos x="56" y="7"/>
                </a:cxn>
                <a:cxn ang="0">
                  <a:pos x="19" y="23"/>
                </a:cxn>
                <a:cxn ang="0">
                  <a:pos x="7" y="60"/>
                </a:cxn>
                <a:cxn ang="0">
                  <a:pos x="51" y="104"/>
                </a:cxn>
                <a:cxn ang="0">
                  <a:pos x="92" y="88"/>
                </a:cxn>
                <a:cxn ang="0">
                  <a:pos x="105" y="51"/>
                </a:cxn>
                <a:cxn ang="0">
                  <a:pos x="61" y="7"/>
                </a:cxn>
                <a:cxn ang="0">
                  <a:pos x="56" y="7"/>
                </a:cxn>
              </a:cxnLst>
              <a:rect l="0" t="0" r="r" b="b"/>
              <a:pathLst>
                <a:path w="112" h="110">
                  <a:moveTo>
                    <a:pt x="56" y="110"/>
                  </a:moveTo>
                  <a:cubicBezTo>
                    <a:pt x="54" y="110"/>
                    <a:pt x="52" y="110"/>
                    <a:pt x="50" y="110"/>
                  </a:cubicBezTo>
                  <a:cubicBezTo>
                    <a:pt x="24" y="107"/>
                    <a:pt x="3" y="86"/>
                    <a:pt x="1" y="61"/>
                  </a:cubicBezTo>
                  <a:cubicBezTo>
                    <a:pt x="0" y="45"/>
                    <a:pt x="5" y="31"/>
                    <a:pt x="15" y="19"/>
                  </a:cubicBezTo>
                  <a:cubicBezTo>
                    <a:pt x="27" y="6"/>
                    <a:pt x="44" y="0"/>
                    <a:pt x="62" y="1"/>
                  </a:cubicBezTo>
                  <a:cubicBezTo>
                    <a:pt x="87" y="3"/>
                    <a:pt x="108" y="24"/>
                    <a:pt x="111" y="50"/>
                  </a:cubicBezTo>
                  <a:cubicBezTo>
                    <a:pt x="112" y="66"/>
                    <a:pt x="107" y="81"/>
                    <a:pt x="97" y="92"/>
                  </a:cubicBezTo>
                  <a:cubicBezTo>
                    <a:pt x="86" y="104"/>
                    <a:pt x="72" y="110"/>
                    <a:pt x="56" y="110"/>
                  </a:cubicBezTo>
                  <a:close/>
                  <a:moveTo>
                    <a:pt x="56" y="7"/>
                  </a:moveTo>
                  <a:cubicBezTo>
                    <a:pt x="42" y="7"/>
                    <a:pt x="29" y="13"/>
                    <a:pt x="19" y="23"/>
                  </a:cubicBezTo>
                  <a:cubicBezTo>
                    <a:pt x="10" y="33"/>
                    <a:pt x="6" y="47"/>
                    <a:pt x="7" y="60"/>
                  </a:cubicBezTo>
                  <a:cubicBezTo>
                    <a:pt x="9" y="83"/>
                    <a:pt x="28" y="102"/>
                    <a:pt x="51" y="104"/>
                  </a:cubicBezTo>
                  <a:cubicBezTo>
                    <a:pt x="67" y="106"/>
                    <a:pt x="82" y="100"/>
                    <a:pt x="92" y="88"/>
                  </a:cubicBezTo>
                  <a:cubicBezTo>
                    <a:pt x="102" y="78"/>
                    <a:pt x="106" y="65"/>
                    <a:pt x="105" y="51"/>
                  </a:cubicBezTo>
                  <a:cubicBezTo>
                    <a:pt x="102" y="28"/>
                    <a:pt x="84" y="9"/>
                    <a:pt x="61" y="7"/>
                  </a:cubicBezTo>
                  <a:cubicBezTo>
                    <a:pt x="60" y="7"/>
                    <a:pt x="58" y="7"/>
                    <a:pt x="56" y="7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7" name="Freeform 30"/>
            <p:cNvSpPr>
              <a:spLocks noEditPoints="1"/>
            </p:cNvSpPr>
            <p:nvPr/>
          </p:nvSpPr>
          <p:spPr bwMode="auto">
            <a:xfrm>
              <a:off x="14447838" y="1146176"/>
              <a:ext cx="123825" cy="66675"/>
            </a:xfrm>
            <a:custGeom>
              <a:avLst/>
              <a:gdLst/>
              <a:ahLst/>
              <a:cxnLst>
                <a:cxn ang="0">
                  <a:pos x="66" y="42"/>
                </a:cxn>
                <a:cxn ang="0">
                  <a:pos x="10" y="42"/>
                </a:cxn>
                <a:cxn ang="0">
                  <a:pos x="0" y="0"/>
                </a:cxn>
                <a:cxn ang="0">
                  <a:pos x="78" y="0"/>
                </a:cxn>
                <a:cxn ang="0">
                  <a:pos x="66" y="42"/>
                </a:cxn>
                <a:cxn ang="0">
                  <a:pos x="20" y="30"/>
                </a:cxn>
                <a:cxn ang="0">
                  <a:pos x="58" y="30"/>
                </a:cxn>
                <a:cxn ang="0">
                  <a:pos x="62" y="12"/>
                </a:cxn>
                <a:cxn ang="0">
                  <a:pos x="16" y="12"/>
                </a:cxn>
                <a:cxn ang="0">
                  <a:pos x="20" y="30"/>
                </a:cxn>
              </a:cxnLst>
              <a:rect l="0" t="0" r="r" b="b"/>
              <a:pathLst>
                <a:path w="78" h="42">
                  <a:moveTo>
                    <a:pt x="66" y="42"/>
                  </a:moveTo>
                  <a:lnTo>
                    <a:pt x="10" y="42"/>
                  </a:lnTo>
                  <a:lnTo>
                    <a:pt x="0" y="0"/>
                  </a:lnTo>
                  <a:lnTo>
                    <a:pt x="78" y="0"/>
                  </a:lnTo>
                  <a:lnTo>
                    <a:pt x="66" y="42"/>
                  </a:lnTo>
                  <a:close/>
                  <a:moveTo>
                    <a:pt x="20" y="30"/>
                  </a:moveTo>
                  <a:lnTo>
                    <a:pt x="58" y="30"/>
                  </a:lnTo>
                  <a:lnTo>
                    <a:pt x="62" y="12"/>
                  </a:lnTo>
                  <a:lnTo>
                    <a:pt x="16" y="12"/>
                  </a:lnTo>
                  <a:lnTo>
                    <a:pt x="20" y="3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18" name="Rectangle 4"/>
          <p:cNvSpPr>
            <a:spLocks noChangeArrowheads="1"/>
          </p:cNvSpPr>
          <p:nvPr/>
        </p:nvSpPr>
        <p:spPr bwMode="auto">
          <a:xfrm>
            <a:off x="4114800" y="1123950"/>
            <a:ext cx="4479836" cy="377902"/>
          </a:xfrm>
          <a:prstGeom prst="rect">
            <a:avLst/>
          </a:prstGeom>
          <a:solidFill>
            <a:srgbClr val="FFC000"/>
          </a:solidFill>
          <a:ln w="19050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35748" tIns="17874" rIns="35748" bIns="17874" anchor="ctr">
            <a:noAutofit/>
          </a:bodyPr>
          <a:lstStyle/>
          <a:p>
            <a:pPr algn="ctr" defTabSz="342809"/>
            <a:r>
              <a:rPr lang="zh-CN" altLang="en-US" sz="150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才培养目标群</a:t>
            </a:r>
          </a:p>
        </p:txBody>
      </p:sp>
      <p:sp>
        <p:nvSpPr>
          <p:cNvPr id="219" name="67281187"/>
          <p:cNvSpPr>
            <a:spLocks noChangeArrowheads="1"/>
          </p:cNvSpPr>
          <p:nvPr/>
        </p:nvSpPr>
        <p:spPr bwMode="auto">
          <a:xfrm>
            <a:off x="443352" y="3920592"/>
            <a:ext cx="3401488" cy="563666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FFFFF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endParaRPr lang="en-US" altLang="zh-CN" sz="1050" b="1" kern="0" spc="225" dirty="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0" name="379908686"/>
          <p:cNvSpPr>
            <a:spLocks noChangeArrowheads="1"/>
          </p:cNvSpPr>
          <p:nvPr/>
        </p:nvSpPr>
        <p:spPr bwMode="auto">
          <a:xfrm>
            <a:off x="443352" y="3326679"/>
            <a:ext cx="3401488" cy="5466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FFFFF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endParaRPr lang="en-US" altLang="zh-CN" sz="1050" b="1" kern="0" spc="225" dirty="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1" name="508503492"/>
          <p:cNvSpPr>
            <a:spLocks noChangeArrowheads="1"/>
          </p:cNvSpPr>
          <p:nvPr/>
        </p:nvSpPr>
        <p:spPr bwMode="auto">
          <a:xfrm>
            <a:off x="404424" y="1654387"/>
            <a:ext cx="3440414" cy="864897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FFFFF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endParaRPr lang="en-US" altLang="zh-CN" sz="1050" b="1" kern="0" spc="225" dirty="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2" name="1896752946"/>
          <p:cNvSpPr>
            <a:spLocks noChangeArrowheads="1"/>
          </p:cNvSpPr>
          <p:nvPr/>
        </p:nvSpPr>
        <p:spPr bwMode="auto">
          <a:xfrm>
            <a:off x="840209" y="1858714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</a:t>
            </a:r>
            <a:endParaRPr lang="en-US" altLang="zh-CN" sz="75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政府</a:t>
            </a:r>
          </a:p>
        </p:txBody>
      </p:sp>
      <p:sp>
        <p:nvSpPr>
          <p:cNvPr id="223" name="1624285745"/>
          <p:cNvSpPr>
            <a:spLocks noChangeArrowheads="1"/>
          </p:cNvSpPr>
          <p:nvPr/>
        </p:nvSpPr>
        <p:spPr bwMode="auto">
          <a:xfrm>
            <a:off x="816469" y="4020223"/>
            <a:ext cx="1443879" cy="38113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787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　　城市通信网络</a:t>
            </a:r>
          </a:p>
        </p:txBody>
      </p:sp>
      <p:sp>
        <p:nvSpPr>
          <p:cNvPr id="224" name="177999886"/>
          <p:cNvSpPr>
            <a:spLocks noChangeArrowheads="1"/>
          </p:cNvSpPr>
          <p:nvPr/>
        </p:nvSpPr>
        <p:spPr bwMode="auto">
          <a:xfrm>
            <a:off x="2283489" y="4024346"/>
            <a:ext cx="1399375" cy="381384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787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　　城市物联网</a:t>
            </a:r>
          </a:p>
        </p:txBody>
      </p:sp>
      <p:sp>
        <p:nvSpPr>
          <p:cNvPr id="225" name="1557438284"/>
          <p:cNvSpPr>
            <a:spLocks noChangeArrowheads="1"/>
          </p:cNvSpPr>
          <p:nvPr/>
        </p:nvSpPr>
        <p:spPr bwMode="auto">
          <a:xfrm>
            <a:off x="816469" y="3436825"/>
            <a:ext cx="2866395" cy="33115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105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城市云数据中心</a:t>
            </a:r>
          </a:p>
        </p:txBody>
      </p:sp>
      <p:sp>
        <p:nvSpPr>
          <p:cNvPr id="226" name="1565679960"/>
          <p:cNvSpPr>
            <a:spLocks/>
          </p:cNvSpPr>
          <p:nvPr/>
        </p:nvSpPr>
        <p:spPr bwMode="auto">
          <a:xfrm>
            <a:off x="971534" y="4200810"/>
            <a:ext cx="37561" cy="9514"/>
          </a:xfrm>
          <a:custGeom>
            <a:avLst/>
            <a:gdLst>
              <a:gd name="T0" fmla="*/ 28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8 w 211"/>
              <a:gd name="T9" fmla="*/ 0 h 56"/>
              <a:gd name="T10" fmla="*/ 0 w 211"/>
              <a:gd name="T11" fmla="*/ 28 h 56"/>
              <a:gd name="T12" fmla="*/ 28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8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3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3"/>
                  <a:pt x="12" y="56"/>
                  <a:pt x="28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7" name="78697279"/>
          <p:cNvSpPr>
            <a:spLocks noEditPoints="1"/>
          </p:cNvSpPr>
          <p:nvPr/>
        </p:nvSpPr>
        <p:spPr bwMode="auto">
          <a:xfrm>
            <a:off x="821291" y="4123111"/>
            <a:ext cx="212300" cy="208518"/>
          </a:xfrm>
          <a:custGeom>
            <a:avLst/>
            <a:gdLst>
              <a:gd name="T0" fmla="*/ 798 w 1201"/>
              <a:gd name="T1" fmla="*/ 1126 h 1220"/>
              <a:gd name="T2" fmla="*/ 515 w 1201"/>
              <a:gd name="T3" fmla="*/ 1126 h 1220"/>
              <a:gd name="T4" fmla="*/ 515 w 1201"/>
              <a:gd name="T5" fmla="*/ 94 h 1220"/>
              <a:gd name="T6" fmla="*/ 1107 w 1201"/>
              <a:gd name="T7" fmla="*/ 94 h 1220"/>
              <a:gd name="T8" fmla="*/ 1107 w 1201"/>
              <a:gd name="T9" fmla="*/ 765 h 1220"/>
              <a:gd name="T10" fmla="*/ 1201 w 1201"/>
              <a:gd name="T11" fmla="*/ 793 h 1220"/>
              <a:gd name="T12" fmla="*/ 1201 w 1201"/>
              <a:gd name="T13" fmla="*/ 47 h 1220"/>
              <a:gd name="T14" fmla="*/ 1154 w 1201"/>
              <a:gd name="T15" fmla="*/ 0 h 1220"/>
              <a:gd name="T16" fmla="*/ 468 w 1201"/>
              <a:gd name="T17" fmla="*/ 0 h 1220"/>
              <a:gd name="T18" fmla="*/ 422 w 1201"/>
              <a:gd name="T19" fmla="*/ 47 h 1220"/>
              <a:gd name="T20" fmla="*/ 422 w 1201"/>
              <a:gd name="T21" fmla="*/ 459 h 1220"/>
              <a:gd name="T22" fmla="*/ 47 w 1201"/>
              <a:gd name="T23" fmla="*/ 459 h 1220"/>
              <a:gd name="T24" fmla="*/ 0 w 1201"/>
              <a:gd name="T25" fmla="*/ 506 h 1220"/>
              <a:gd name="T26" fmla="*/ 0 w 1201"/>
              <a:gd name="T27" fmla="*/ 1173 h 1220"/>
              <a:gd name="T28" fmla="*/ 47 w 1201"/>
              <a:gd name="T29" fmla="*/ 1220 h 1220"/>
              <a:gd name="T30" fmla="*/ 843 w 1201"/>
              <a:gd name="T31" fmla="*/ 1220 h 1220"/>
              <a:gd name="T32" fmla="*/ 798 w 1201"/>
              <a:gd name="T33" fmla="*/ 1126 h 1220"/>
              <a:gd name="T34" fmla="*/ 422 w 1201"/>
              <a:gd name="T35" fmla="*/ 1126 h 1220"/>
              <a:gd name="T36" fmla="*/ 94 w 1201"/>
              <a:gd name="T37" fmla="*/ 1126 h 1220"/>
              <a:gd name="T38" fmla="*/ 94 w 1201"/>
              <a:gd name="T39" fmla="*/ 553 h 1220"/>
              <a:gd name="T40" fmla="*/ 422 w 1201"/>
              <a:gd name="T41" fmla="*/ 553 h 1220"/>
              <a:gd name="T42" fmla="*/ 422 w 1201"/>
              <a:gd name="T43" fmla="*/ 1126 h 1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01" h="1220">
                <a:moveTo>
                  <a:pt x="798" y="1126"/>
                </a:moveTo>
                <a:cubicBezTo>
                  <a:pt x="515" y="1126"/>
                  <a:pt x="515" y="1126"/>
                  <a:pt x="515" y="1126"/>
                </a:cubicBezTo>
                <a:cubicBezTo>
                  <a:pt x="515" y="94"/>
                  <a:pt x="515" y="94"/>
                  <a:pt x="515" y="94"/>
                </a:cubicBezTo>
                <a:cubicBezTo>
                  <a:pt x="1107" y="94"/>
                  <a:pt x="1107" y="94"/>
                  <a:pt x="1107" y="94"/>
                </a:cubicBezTo>
                <a:cubicBezTo>
                  <a:pt x="1107" y="765"/>
                  <a:pt x="1107" y="765"/>
                  <a:pt x="1107" y="765"/>
                </a:cubicBezTo>
                <a:cubicBezTo>
                  <a:pt x="1140" y="769"/>
                  <a:pt x="1172" y="779"/>
                  <a:pt x="1201" y="793"/>
                </a:cubicBezTo>
                <a:cubicBezTo>
                  <a:pt x="1201" y="47"/>
                  <a:pt x="1201" y="47"/>
                  <a:pt x="1201" y="47"/>
                </a:cubicBezTo>
                <a:cubicBezTo>
                  <a:pt x="1201" y="21"/>
                  <a:pt x="1179" y="0"/>
                  <a:pt x="1154" y="0"/>
                </a:cubicBezTo>
                <a:cubicBezTo>
                  <a:pt x="468" y="0"/>
                  <a:pt x="468" y="0"/>
                  <a:pt x="468" y="0"/>
                </a:cubicBezTo>
                <a:cubicBezTo>
                  <a:pt x="442" y="0"/>
                  <a:pt x="422" y="21"/>
                  <a:pt x="422" y="47"/>
                </a:cubicBezTo>
                <a:cubicBezTo>
                  <a:pt x="422" y="459"/>
                  <a:pt x="422" y="459"/>
                  <a:pt x="422" y="459"/>
                </a:cubicBezTo>
                <a:cubicBezTo>
                  <a:pt x="47" y="459"/>
                  <a:pt x="47" y="459"/>
                  <a:pt x="47" y="459"/>
                </a:cubicBezTo>
                <a:cubicBezTo>
                  <a:pt x="21" y="459"/>
                  <a:pt x="0" y="480"/>
                  <a:pt x="0" y="506"/>
                </a:cubicBezTo>
                <a:cubicBezTo>
                  <a:pt x="0" y="1173"/>
                  <a:pt x="0" y="1173"/>
                  <a:pt x="0" y="1173"/>
                </a:cubicBezTo>
                <a:cubicBezTo>
                  <a:pt x="0" y="1199"/>
                  <a:pt x="21" y="1220"/>
                  <a:pt x="47" y="1220"/>
                </a:cubicBezTo>
                <a:cubicBezTo>
                  <a:pt x="843" y="1220"/>
                  <a:pt x="843" y="1220"/>
                  <a:pt x="843" y="1220"/>
                </a:cubicBezTo>
                <a:cubicBezTo>
                  <a:pt x="823" y="1192"/>
                  <a:pt x="807" y="1160"/>
                  <a:pt x="798" y="1126"/>
                </a:cubicBezTo>
                <a:close/>
                <a:moveTo>
                  <a:pt x="422" y="1126"/>
                </a:moveTo>
                <a:cubicBezTo>
                  <a:pt x="94" y="1126"/>
                  <a:pt x="94" y="1126"/>
                  <a:pt x="94" y="1126"/>
                </a:cubicBezTo>
                <a:cubicBezTo>
                  <a:pt x="94" y="553"/>
                  <a:pt x="94" y="553"/>
                  <a:pt x="94" y="553"/>
                </a:cubicBezTo>
                <a:cubicBezTo>
                  <a:pt x="422" y="553"/>
                  <a:pt x="422" y="553"/>
                  <a:pt x="422" y="553"/>
                </a:cubicBezTo>
                <a:lnTo>
                  <a:pt x="422" y="11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8" name="459222534"/>
          <p:cNvSpPr>
            <a:spLocks/>
          </p:cNvSpPr>
          <p:nvPr/>
        </p:nvSpPr>
        <p:spPr bwMode="auto">
          <a:xfrm>
            <a:off x="845788" y="4277716"/>
            <a:ext cx="36744" cy="9514"/>
          </a:xfrm>
          <a:custGeom>
            <a:avLst/>
            <a:gdLst>
              <a:gd name="T0" fmla="*/ 29 w 212"/>
              <a:gd name="T1" fmla="*/ 57 h 57"/>
              <a:gd name="T2" fmla="*/ 184 w 212"/>
              <a:gd name="T3" fmla="*/ 57 h 57"/>
              <a:gd name="T4" fmla="*/ 212 w 212"/>
              <a:gd name="T5" fmla="*/ 29 h 57"/>
              <a:gd name="T6" fmla="*/ 184 w 212"/>
              <a:gd name="T7" fmla="*/ 0 h 57"/>
              <a:gd name="T8" fmla="*/ 29 w 212"/>
              <a:gd name="T9" fmla="*/ 0 h 57"/>
              <a:gd name="T10" fmla="*/ 0 w 212"/>
              <a:gd name="T11" fmla="*/ 29 h 57"/>
              <a:gd name="T12" fmla="*/ 29 w 212"/>
              <a:gd name="T13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7">
                <a:moveTo>
                  <a:pt x="29" y="57"/>
                </a:moveTo>
                <a:cubicBezTo>
                  <a:pt x="184" y="57"/>
                  <a:pt x="184" y="57"/>
                  <a:pt x="184" y="57"/>
                </a:cubicBezTo>
                <a:cubicBezTo>
                  <a:pt x="200" y="57"/>
                  <a:pt x="212" y="44"/>
                  <a:pt x="212" y="29"/>
                </a:cubicBezTo>
                <a:cubicBezTo>
                  <a:pt x="212" y="13"/>
                  <a:pt x="200" y="0"/>
                  <a:pt x="184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44"/>
                  <a:pt x="13" y="57"/>
                  <a:pt x="29" y="5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9" name="1539619166"/>
          <p:cNvSpPr>
            <a:spLocks/>
          </p:cNvSpPr>
          <p:nvPr/>
        </p:nvSpPr>
        <p:spPr bwMode="auto">
          <a:xfrm>
            <a:off x="845788" y="4238867"/>
            <a:ext cx="36744" cy="9514"/>
          </a:xfrm>
          <a:custGeom>
            <a:avLst/>
            <a:gdLst>
              <a:gd name="T0" fmla="*/ 29 w 212"/>
              <a:gd name="T1" fmla="*/ 56 h 56"/>
              <a:gd name="T2" fmla="*/ 184 w 212"/>
              <a:gd name="T3" fmla="*/ 56 h 56"/>
              <a:gd name="T4" fmla="*/ 212 w 212"/>
              <a:gd name="T5" fmla="*/ 28 h 56"/>
              <a:gd name="T6" fmla="*/ 184 w 212"/>
              <a:gd name="T7" fmla="*/ 0 h 56"/>
              <a:gd name="T8" fmla="*/ 29 w 212"/>
              <a:gd name="T9" fmla="*/ 0 h 56"/>
              <a:gd name="T10" fmla="*/ 0 w 212"/>
              <a:gd name="T11" fmla="*/ 28 h 56"/>
              <a:gd name="T12" fmla="*/ 29 w 212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6">
                <a:moveTo>
                  <a:pt x="29" y="56"/>
                </a:moveTo>
                <a:cubicBezTo>
                  <a:pt x="184" y="56"/>
                  <a:pt x="184" y="56"/>
                  <a:pt x="184" y="56"/>
                </a:cubicBezTo>
                <a:cubicBezTo>
                  <a:pt x="200" y="56"/>
                  <a:pt x="212" y="43"/>
                  <a:pt x="212" y="28"/>
                </a:cubicBezTo>
                <a:cubicBezTo>
                  <a:pt x="212" y="12"/>
                  <a:pt x="200" y="0"/>
                  <a:pt x="184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9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0" name="1478380270"/>
          <p:cNvSpPr>
            <a:spLocks/>
          </p:cNvSpPr>
          <p:nvPr/>
        </p:nvSpPr>
        <p:spPr bwMode="auto">
          <a:xfrm>
            <a:off x="920092" y="4238867"/>
            <a:ext cx="37561" cy="9514"/>
          </a:xfrm>
          <a:custGeom>
            <a:avLst/>
            <a:gdLst>
              <a:gd name="T0" fmla="*/ 183 w 211"/>
              <a:gd name="T1" fmla="*/ 0 h 56"/>
              <a:gd name="T2" fmla="*/ 28 w 211"/>
              <a:gd name="T3" fmla="*/ 0 h 56"/>
              <a:gd name="T4" fmla="*/ 0 w 211"/>
              <a:gd name="T5" fmla="*/ 28 h 56"/>
              <a:gd name="T6" fmla="*/ 28 w 211"/>
              <a:gd name="T7" fmla="*/ 56 h 56"/>
              <a:gd name="T8" fmla="*/ 183 w 211"/>
              <a:gd name="T9" fmla="*/ 56 h 56"/>
              <a:gd name="T10" fmla="*/ 211 w 211"/>
              <a:gd name="T11" fmla="*/ 28 h 56"/>
              <a:gd name="T12" fmla="*/ 183 w 211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183" y="0"/>
                </a:move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8" y="56"/>
                </a:cubicBez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3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1" name="147707268"/>
          <p:cNvSpPr>
            <a:spLocks/>
          </p:cNvSpPr>
          <p:nvPr/>
        </p:nvSpPr>
        <p:spPr bwMode="auto">
          <a:xfrm>
            <a:off x="920092" y="4161960"/>
            <a:ext cx="37561" cy="9514"/>
          </a:xfrm>
          <a:custGeom>
            <a:avLst/>
            <a:gdLst>
              <a:gd name="T0" fmla="*/ 183 w 211"/>
              <a:gd name="T1" fmla="*/ 0 h 56"/>
              <a:gd name="T2" fmla="*/ 28 w 211"/>
              <a:gd name="T3" fmla="*/ 0 h 56"/>
              <a:gd name="T4" fmla="*/ 0 w 211"/>
              <a:gd name="T5" fmla="*/ 28 h 56"/>
              <a:gd name="T6" fmla="*/ 28 w 211"/>
              <a:gd name="T7" fmla="*/ 56 h 56"/>
              <a:gd name="T8" fmla="*/ 183 w 211"/>
              <a:gd name="T9" fmla="*/ 56 h 56"/>
              <a:gd name="T10" fmla="*/ 211 w 211"/>
              <a:gd name="T11" fmla="*/ 28 h 56"/>
              <a:gd name="T12" fmla="*/ 183 w 211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183" y="0"/>
                </a:move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4"/>
                  <a:pt x="13" y="56"/>
                  <a:pt x="28" y="56"/>
                </a:cubicBez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4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2" name="1584055803"/>
          <p:cNvSpPr>
            <a:spLocks/>
          </p:cNvSpPr>
          <p:nvPr/>
        </p:nvSpPr>
        <p:spPr bwMode="auto">
          <a:xfrm>
            <a:off x="920092" y="4200810"/>
            <a:ext cx="37561" cy="9514"/>
          </a:xfrm>
          <a:custGeom>
            <a:avLst/>
            <a:gdLst>
              <a:gd name="T0" fmla="*/ 183 w 211"/>
              <a:gd name="T1" fmla="*/ 0 h 56"/>
              <a:gd name="T2" fmla="*/ 28 w 211"/>
              <a:gd name="T3" fmla="*/ 0 h 56"/>
              <a:gd name="T4" fmla="*/ 0 w 211"/>
              <a:gd name="T5" fmla="*/ 28 h 56"/>
              <a:gd name="T6" fmla="*/ 28 w 211"/>
              <a:gd name="T7" fmla="*/ 56 h 56"/>
              <a:gd name="T8" fmla="*/ 183 w 211"/>
              <a:gd name="T9" fmla="*/ 56 h 56"/>
              <a:gd name="T10" fmla="*/ 211 w 211"/>
              <a:gd name="T11" fmla="*/ 28 h 56"/>
              <a:gd name="T12" fmla="*/ 183 w 211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183" y="0"/>
                </a:move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8" y="56"/>
                </a:cubicBez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3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3" name="1552532194"/>
          <p:cNvSpPr>
            <a:spLocks/>
          </p:cNvSpPr>
          <p:nvPr/>
        </p:nvSpPr>
        <p:spPr bwMode="auto">
          <a:xfrm>
            <a:off x="971534" y="4238867"/>
            <a:ext cx="37561" cy="9514"/>
          </a:xfrm>
          <a:custGeom>
            <a:avLst/>
            <a:gdLst>
              <a:gd name="T0" fmla="*/ 28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8 w 211"/>
              <a:gd name="T9" fmla="*/ 0 h 56"/>
              <a:gd name="T10" fmla="*/ 0 w 211"/>
              <a:gd name="T11" fmla="*/ 28 h 56"/>
              <a:gd name="T12" fmla="*/ 28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8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3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3"/>
                  <a:pt x="12" y="56"/>
                  <a:pt x="28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4" name="274775723"/>
          <p:cNvSpPr>
            <a:spLocks/>
          </p:cNvSpPr>
          <p:nvPr/>
        </p:nvSpPr>
        <p:spPr bwMode="auto">
          <a:xfrm>
            <a:off x="971534" y="4161960"/>
            <a:ext cx="37561" cy="9514"/>
          </a:xfrm>
          <a:custGeom>
            <a:avLst/>
            <a:gdLst>
              <a:gd name="T0" fmla="*/ 28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8 w 211"/>
              <a:gd name="T9" fmla="*/ 0 h 56"/>
              <a:gd name="T10" fmla="*/ 0 w 211"/>
              <a:gd name="T11" fmla="*/ 28 h 56"/>
              <a:gd name="T12" fmla="*/ 28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8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9" y="56"/>
                  <a:pt x="211" y="44"/>
                  <a:pt x="211" y="28"/>
                </a:cubicBezTo>
                <a:cubicBezTo>
                  <a:pt x="211" y="12"/>
                  <a:pt x="199" y="0"/>
                  <a:pt x="183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4"/>
                  <a:pt x="12" y="56"/>
                  <a:pt x="28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5" name="689966864"/>
          <p:cNvSpPr>
            <a:spLocks/>
          </p:cNvSpPr>
          <p:nvPr/>
        </p:nvSpPr>
        <p:spPr bwMode="auto">
          <a:xfrm>
            <a:off x="920092" y="4277716"/>
            <a:ext cx="37561" cy="9514"/>
          </a:xfrm>
          <a:custGeom>
            <a:avLst/>
            <a:gdLst>
              <a:gd name="T0" fmla="*/ 183 w 211"/>
              <a:gd name="T1" fmla="*/ 0 h 57"/>
              <a:gd name="T2" fmla="*/ 28 w 211"/>
              <a:gd name="T3" fmla="*/ 0 h 57"/>
              <a:gd name="T4" fmla="*/ 0 w 211"/>
              <a:gd name="T5" fmla="*/ 29 h 57"/>
              <a:gd name="T6" fmla="*/ 28 w 211"/>
              <a:gd name="T7" fmla="*/ 57 h 57"/>
              <a:gd name="T8" fmla="*/ 183 w 211"/>
              <a:gd name="T9" fmla="*/ 57 h 57"/>
              <a:gd name="T10" fmla="*/ 211 w 211"/>
              <a:gd name="T11" fmla="*/ 29 h 57"/>
              <a:gd name="T12" fmla="*/ 183 w 211"/>
              <a:gd name="T13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7">
                <a:moveTo>
                  <a:pt x="183" y="0"/>
                </a:move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44"/>
                  <a:pt x="13" y="57"/>
                  <a:pt x="28" y="57"/>
                </a:cubicBezTo>
                <a:cubicBezTo>
                  <a:pt x="183" y="57"/>
                  <a:pt x="183" y="57"/>
                  <a:pt x="183" y="57"/>
                </a:cubicBezTo>
                <a:cubicBezTo>
                  <a:pt x="199" y="57"/>
                  <a:pt x="211" y="44"/>
                  <a:pt x="211" y="29"/>
                </a:cubicBezTo>
                <a:cubicBezTo>
                  <a:pt x="211" y="13"/>
                  <a:pt x="199" y="0"/>
                  <a:pt x="1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6" name="1332577874"/>
          <p:cNvSpPr>
            <a:spLocks noEditPoints="1"/>
          </p:cNvSpPr>
          <p:nvPr/>
        </p:nvSpPr>
        <p:spPr bwMode="auto">
          <a:xfrm>
            <a:off x="962552" y="4255516"/>
            <a:ext cx="97984" cy="95141"/>
          </a:xfrm>
          <a:custGeom>
            <a:avLst/>
            <a:gdLst>
              <a:gd name="T0" fmla="*/ 476 w 557"/>
              <a:gd name="T1" fmla="*/ 81 h 557"/>
              <a:gd name="T2" fmla="*/ 476 w 557"/>
              <a:gd name="T3" fmla="*/ 475 h 557"/>
              <a:gd name="T4" fmla="*/ 82 w 557"/>
              <a:gd name="T5" fmla="*/ 475 h 557"/>
              <a:gd name="T6" fmla="*/ 82 w 557"/>
              <a:gd name="T7" fmla="*/ 81 h 557"/>
              <a:gd name="T8" fmla="*/ 266 w 557"/>
              <a:gd name="T9" fmla="*/ 514 h 557"/>
              <a:gd name="T10" fmla="*/ 266 w 557"/>
              <a:gd name="T11" fmla="*/ 424 h 557"/>
              <a:gd name="T12" fmla="*/ 184 w 557"/>
              <a:gd name="T13" fmla="*/ 442 h 557"/>
              <a:gd name="T14" fmla="*/ 240 w 557"/>
              <a:gd name="T15" fmla="*/ 511 h 557"/>
              <a:gd name="T16" fmla="*/ 445 w 557"/>
              <a:gd name="T17" fmla="*/ 112 h 557"/>
              <a:gd name="T18" fmla="*/ 440 w 557"/>
              <a:gd name="T19" fmla="*/ 106 h 557"/>
              <a:gd name="T20" fmla="*/ 433 w 557"/>
              <a:gd name="T21" fmla="*/ 266 h 557"/>
              <a:gd name="T22" fmla="*/ 445 w 557"/>
              <a:gd name="T23" fmla="*/ 112 h 557"/>
              <a:gd name="T24" fmla="*/ 419 w 557"/>
              <a:gd name="T25" fmla="*/ 89 h 557"/>
              <a:gd name="T26" fmla="*/ 390 w 557"/>
              <a:gd name="T27" fmla="*/ 90 h 557"/>
              <a:gd name="T28" fmla="*/ 419 w 557"/>
              <a:gd name="T29" fmla="*/ 89 h 557"/>
              <a:gd name="T30" fmla="*/ 318 w 557"/>
              <a:gd name="T31" fmla="*/ 46 h 557"/>
              <a:gd name="T32" fmla="*/ 292 w 557"/>
              <a:gd name="T33" fmla="*/ 133 h 557"/>
              <a:gd name="T34" fmla="*/ 373 w 557"/>
              <a:gd name="T35" fmla="*/ 115 h 557"/>
              <a:gd name="T36" fmla="*/ 318 w 557"/>
              <a:gd name="T37" fmla="*/ 46 h 557"/>
              <a:gd name="T38" fmla="*/ 266 w 557"/>
              <a:gd name="T39" fmla="*/ 43 h 557"/>
              <a:gd name="T40" fmla="*/ 190 w 557"/>
              <a:gd name="T41" fmla="*/ 103 h 557"/>
              <a:gd name="T42" fmla="*/ 194 w 557"/>
              <a:gd name="T43" fmla="*/ 119 h 557"/>
              <a:gd name="T44" fmla="*/ 266 w 557"/>
              <a:gd name="T45" fmla="*/ 43 h 557"/>
              <a:gd name="T46" fmla="*/ 186 w 557"/>
              <a:gd name="T47" fmla="*/ 62 h 557"/>
              <a:gd name="T48" fmla="*/ 161 w 557"/>
              <a:gd name="T49" fmla="*/ 104 h 557"/>
              <a:gd name="T50" fmla="*/ 186 w 557"/>
              <a:gd name="T51" fmla="*/ 62 h 557"/>
              <a:gd name="T52" fmla="*/ 118 w 557"/>
              <a:gd name="T53" fmla="*/ 106 h 557"/>
              <a:gd name="T54" fmla="*/ 43 w 557"/>
              <a:gd name="T55" fmla="*/ 266 h 557"/>
              <a:gd name="T56" fmla="*/ 151 w 557"/>
              <a:gd name="T57" fmla="*/ 127 h 557"/>
              <a:gd name="T58" fmla="*/ 43 w 557"/>
              <a:gd name="T59" fmla="*/ 291 h 557"/>
              <a:gd name="T60" fmla="*/ 112 w 557"/>
              <a:gd name="T61" fmla="*/ 445 h 557"/>
              <a:gd name="T62" fmla="*/ 151 w 557"/>
              <a:gd name="T63" fmla="*/ 430 h 557"/>
              <a:gd name="T64" fmla="*/ 43 w 557"/>
              <a:gd name="T65" fmla="*/ 291 h 557"/>
              <a:gd name="T66" fmla="*/ 138 w 557"/>
              <a:gd name="T67" fmla="*/ 468 h 557"/>
              <a:gd name="T68" fmla="*/ 167 w 557"/>
              <a:gd name="T69" fmla="*/ 466 h 557"/>
              <a:gd name="T70" fmla="*/ 138 w 557"/>
              <a:gd name="T71" fmla="*/ 468 h 557"/>
              <a:gd name="T72" fmla="*/ 292 w 557"/>
              <a:gd name="T73" fmla="*/ 514 h 557"/>
              <a:gd name="T74" fmla="*/ 367 w 557"/>
              <a:gd name="T75" fmla="*/ 454 h 557"/>
              <a:gd name="T76" fmla="*/ 364 w 557"/>
              <a:gd name="T77" fmla="*/ 439 h 557"/>
              <a:gd name="T78" fmla="*/ 292 w 557"/>
              <a:gd name="T79" fmla="*/ 514 h 557"/>
              <a:gd name="T80" fmla="*/ 371 w 557"/>
              <a:gd name="T81" fmla="*/ 495 h 557"/>
              <a:gd name="T82" fmla="*/ 397 w 557"/>
              <a:gd name="T83" fmla="*/ 454 h 557"/>
              <a:gd name="T84" fmla="*/ 371 w 557"/>
              <a:gd name="T85" fmla="*/ 495 h 557"/>
              <a:gd name="T86" fmla="*/ 440 w 557"/>
              <a:gd name="T87" fmla="*/ 451 h 557"/>
              <a:gd name="T88" fmla="*/ 514 w 557"/>
              <a:gd name="T89" fmla="*/ 291 h 557"/>
              <a:gd name="T90" fmla="*/ 407 w 557"/>
              <a:gd name="T91" fmla="*/ 430 h 557"/>
              <a:gd name="T92" fmla="*/ 384 w 557"/>
              <a:gd name="T93" fmla="*/ 138 h 557"/>
              <a:gd name="T94" fmla="*/ 373 w 557"/>
              <a:gd name="T95" fmla="*/ 142 h 557"/>
              <a:gd name="T96" fmla="*/ 292 w 557"/>
              <a:gd name="T97" fmla="*/ 266 h 557"/>
              <a:gd name="T98" fmla="*/ 384 w 557"/>
              <a:gd name="T99" fmla="*/ 138 h 557"/>
              <a:gd name="T100" fmla="*/ 266 w 557"/>
              <a:gd name="T101" fmla="*/ 159 h 557"/>
              <a:gd name="T102" fmla="*/ 174 w 557"/>
              <a:gd name="T103" fmla="*/ 138 h 557"/>
              <a:gd name="T104" fmla="*/ 266 w 557"/>
              <a:gd name="T105" fmla="*/ 266 h 557"/>
              <a:gd name="T106" fmla="*/ 266 w 557"/>
              <a:gd name="T107" fmla="*/ 398 h 557"/>
              <a:gd name="T108" fmla="*/ 266 w 557"/>
              <a:gd name="T109" fmla="*/ 291 h 557"/>
              <a:gd name="T110" fmla="*/ 174 w 557"/>
              <a:gd name="T111" fmla="*/ 419 h 557"/>
              <a:gd name="T112" fmla="*/ 266 w 557"/>
              <a:gd name="T113" fmla="*/ 398 h 557"/>
              <a:gd name="T114" fmla="*/ 292 w 557"/>
              <a:gd name="T115" fmla="*/ 398 h 557"/>
              <a:gd name="T116" fmla="*/ 384 w 557"/>
              <a:gd name="T117" fmla="*/ 419 h 557"/>
              <a:gd name="T118" fmla="*/ 292 w 557"/>
              <a:gd name="T119" fmla="*/ 291 h 5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57" h="557">
                <a:moveTo>
                  <a:pt x="279" y="0"/>
                </a:moveTo>
                <a:cubicBezTo>
                  <a:pt x="356" y="0"/>
                  <a:pt x="425" y="31"/>
                  <a:pt x="476" y="81"/>
                </a:cubicBezTo>
                <a:cubicBezTo>
                  <a:pt x="526" y="132"/>
                  <a:pt x="557" y="202"/>
                  <a:pt x="557" y="279"/>
                </a:cubicBezTo>
                <a:cubicBezTo>
                  <a:pt x="557" y="355"/>
                  <a:pt x="526" y="425"/>
                  <a:pt x="476" y="475"/>
                </a:cubicBezTo>
                <a:cubicBezTo>
                  <a:pt x="425" y="526"/>
                  <a:pt x="356" y="557"/>
                  <a:pt x="279" y="557"/>
                </a:cubicBezTo>
                <a:cubicBezTo>
                  <a:pt x="202" y="557"/>
                  <a:pt x="132" y="526"/>
                  <a:pt x="82" y="475"/>
                </a:cubicBezTo>
                <a:cubicBezTo>
                  <a:pt x="31" y="425"/>
                  <a:pt x="0" y="355"/>
                  <a:pt x="0" y="279"/>
                </a:cubicBezTo>
                <a:cubicBezTo>
                  <a:pt x="0" y="202"/>
                  <a:pt x="31" y="132"/>
                  <a:pt x="82" y="81"/>
                </a:cubicBezTo>
                <a:cubicBezTo>
                  <a:pt x="132" y="31"/>
                  <a:pt x="202" y="0"/>
                  <a:pt x="279" y="0"/>
                </a:cubicBezTo>
                <a:close/>
                <a:moveTo>
                  <a:pt x="266" y="514"/>
                </a:moveTo>
                <a:cubicBezTo>
                  <a:pt x="266" y="514"/>
                  <a:pt x="266" y="514"/>
                  <a:pt x="266" y="514"/>
                </a:cubicBezTo>
                <a:cubicBezTo>
                  <a:pt x="266" y="424"/>
                  <a:pt x="266" y="424"/>
                  <a:pt x="266" y="424"/>
                </a:cubicBezTo>
                <a:cubicBezTo>
                  <a:pt x="240" y="425"/>
                  <a:pt x="216" y="430"/>
                  <a:pt x="194" y="439"/>
                </a:cubicBezTo>
                <a:cubicBezTo>
                  <a:pt x="190" y="440"/>
                  <a:pt x="187" y="441"/>
                  <a:pt x="184" y="442"/>
                </a:cubicBezTo>
                <a:cubicBezTo>
                  <a:pt x="186" y="446"/>
                  <a:pt x="188" y="450"/>
                  <a:pt x="190" y="454"/>
                </a:cubicBezTo>
                <a:cubicBezTo>
                  <a:pt x="204" y="480"/>
                  <a:pt x="221" y="499"/>
                  <a:pt x="240" y="511"/>
                </a:cubicBezTo>
                <a:cubicBezTo>
                  <a:pt x="248" y="512"/>
                  <a:pt x="257" y="513"/>
                  <a:pt x="266" y="514"/>
                </a:cubicBezTo>
                <a:close/>
                <a:moveTo>
                  <a:pt x="445" y="112"/>
                </a:moveTo>
                <a:cubicBezTo>
                  <a:pt x="445" y="112"/>
                  <a:pt x="445" y="112"/>
                  <a:pt x="445" y="112"/>
                </a:cubicBezTo>
                <a:cubicBezTo>
                  <a:pt x="443" y="110"/>
                  <a:pt x="441" y="108"/>
                  <a:pt x="440" y="106"/>
                </a:cubicBezTo>
                <a:cubicBezTo>
                  <a:pt x="429" y="114"/>
                  <a:pt x="418" y="121"/>
                  <a:pt x="407" y="127"/>
                </a:cubicBezTo>
                <a:cubicBezTo>
                  <a:pt x="422" y="167"/>
                  <a:pt x="431" y="214"/>
                  <a:pt x="433" y="266"/>
                </a:cubicBezTo>
                <a:cubicBezTo>
                  <a:pt x="514" y="266"/>
                  <a:pt x="514" y="266"/>
                  <a:pt x="514" y="266"/>
                </a:cubicBezTo>
                <a:cubicBezTo>
                  <a:pt x="511" y="206"/>
                  <a:pt x="485" y="152"/>
                  <a:pt x="445" y="112"/>
                </a:cubicBezTo>
                <a:close/>
                <a:moveTo>
                  <a:pt x="419" y="89"/>
                </a:moveTo>
                <a:cubicBezTo>
                  <a:pt x="419" y="89"/>
                  <a:pt x="419" y="89"/>
                  <a:pt x="419" y="89"/>
                </a:cubicBezTo>
                <a:cubicBezTo>
                  <a:pt x="404" y="78"/>
                  <a:pt x="388" y="69"/>
                  <a:pt x="371" y="62"/>
                </a:cubicBezTo>
                <a:cubicBezTo>
                  <a:pt x="378" y="70"/>
                  <a:pt x="384" y="80"/>
                  <a:pt x="390" y="90"/>
                </a:cubicBezTo>
                <a:cubicBezTo>
                  <a:pt x="392" y="95"/>
                  <a:pt x="394" y="99"/>
                  <a:pt x="397" y="104"/>
                </a:cubicBezTo>
                <a:cubicBezTo>
                  <a:pt x="404" y="99"/>
                  <a:pt x="412" y="94"/>
                  <a:pt x="419" y="89"/>
                </a:cubicBezTo>
                <a:close/>
                <a:moveTo>
                  <a:pt x="318" y="46"/>
                </a:moveTo>
                <a:cubicBezTo>
                  <a:pt x="318" y="46"/>
                  <a:pt x="318" y="46"/>
                  <a:pt x="318" y="46"/>
                </a:cubicBezTo>
                <a:cubicBezTo>
                  <a:pt x="309" y="45"/>
                  <a:pt x="300" y="44"/>
                  <a:pt x="292" y="43"/>
                </a:cubicBezTo>
                <a:cubicBezTo>
                  <a:pt x="292" y="133"/>
                  <a:pt x="292" y="133"/>
                  <a:pt x="292" y="133"/>
                </a:cubicBezTo>
                <a:cubicBezTo>
                  <a:pt x="317" y="132"/>
                  <a:pt x="341" y="127"/>
                  <a:pt x="364" y="119"/>
                </a:cubicBezTo>
                <a:cubicBezTo>
                  <a:pt x="367" y="117"/>
                  <a:pt x="370" y="116"/>
                  <a:pt x="373" y="115"/>
                </a:cubicBezTo>
                <a:cubicBezTo>
                  <a:pt x="372" y="111"/>
                  <a:pt x="369" y="107"/>
                  <a:pt x="367" y="103"/>
                </a:cubicBezTo>
                <a:cubicBezTo>
                  <a:pt x="353" y="77"/>
                  <a:pt x="336" y="58"/>
                  <a:pt x="318" y="46"/>
                </a:cubicBezTo>
                <a:close/>
                <a:moveTo>
                  <a:pt x="266" y="43"/>
                </a:moveTo>
                <a:cubicBezTo>
                  <a:pt x="266" y="43"/>
                  <a:pt x="266" y="43"/>
                  <a:pt x="266" y="43"/>
                </a:cubicBezTo>
                <a:cubicBezTo>
                  <a:pt x="257" y="44"/>
                  <a:pt x="248" y="45"/>
                  <a:pt x="240" y="46"/>
                </a:cubicBezTo>
                <a:cubicBezTo>
                  <a:pt x="221" y="58"/>
                  <a:pt x="204" y="77"/>
                  <a:pt x="190" y="103"/>
                </a:cubicBezTo>
                <a:cubicBezTo>
                  <a:pt x="188" y="107"/>
                  <a:pt x="186" y="111"/>
                  <a:pt x="184" y="115"/>
                </a:cubicBezTo>
                <a:cubicBezTo>
                  <a:pt x="187" y="116"/>
                  <a:pt x="190" y="117"/>
                  <a:pt x="194" y="119"/>
                </a:cubicBezTo>
                <a:cubicBezTo>
                  <a:pt x="216" y="127"/>
                  <a:pt x="240" y="132"/>
                  <a:pt x="266" y="133"/>
                </a:cubicBezTo>
                <a:cubicBezTo>
                  <a:pt x="266" y="43"/>
                  <a:pt x="266" y="43"/>
                  <a:pt x="266" y="43"/>
                </a:cubicBezTo>
                <a:close/>
                <a:moveTo>
                  <a:pt x="186" y="62"/>
                </a:moveTo>
                <a:cubicBezTo>
                  <a:pt x="186" y="62"/>
                  <a:pt x="186" y="62"/>
                  <a:pt x="186" y="62"/>
                </a:cubicBezTo>
                <a:cubicBezTo>
                  <a:pt x="169" y="69"/>
                  <a:pt x="153" y="78"/>
                  <a:pt x="138" y="89"/>
                </a:cubicBezTo>
                <a:cubicBezTo>
                  <a:pt x="145" y="94"/>
                  <a:pt x="153" y="99"/>
                  <a:pt x="161" y="104"/>
                </a:cubicBezTo>
                <a:cubicBezTo>
                  <a:pt x="163" y="99"/>
                  <a:pt x="165" y="95"/>
                  <a:pt x="167" y="90"/>
                </a:cubicBezTo>
                <a:cubicBezTo>
                  <a:pt x="173" y="80"/>
                  <a:pt x="179" y="70"/>
                  <a:pt x="186" y="62"/>
                </a:cubicBezTo>
                <a:close/>
                <a:moveTo>
                  <a:pt x="118" y="106"/>
                </a:moveTo>
                <a:cubicBezTo>
                  <a:pt x="118" y="106"/>
                  <a:pt x="118" y="106"/>
                  <a:pt x="118" y="106"/>
                </a:cubicBezTo>
                <a:cubicBezTo>
                  <a:pt x="116" y="108"/>
                  <a:pt x="114" y="110"/>
                  <a:pt x="112" y="112"/>
                </a:cubicBezTo>
                <a:cubicBezTo>
                  <a:pt x="72" y="152"/>
                  <a:pt x="47" y="206"/>
                  <a:pt x="43" y="266"/>
                </a:cubicBezTo>
                <a:cubicBezTo>
                  <a:pt x="125" y="266"/>
                  <a:pt x="125" y="266"/>
                  <a:pt x="125" y="266"/>
                </a:cubicBezTo>
                <a:cubicBezTo>
                  <a:pt x="126" y="214"/>
                  <a:pt x="135" y="167"/>
                  <a:pt x="151" y="127"/>
                </a:cubicBezTo>
                <a:cubicBezTo>
                  <a:pt x="139" y="121"/>
                  <a:pt x="128" y="114"/>
                  <a:pt x="118" y="106"/>
                </a:cubicBezTo>
                <a:close/>
                <a:moveTo>
                  <a:pt x="43" y="291"/>
                </a:moveTo>
                <a:cubicBezTo>
                  <a:pt x="43" y="291"/>
                  <a:pt x="43" y="291"/>
                  <a:pt x="43" y="291"/>
                </a:cubicBezTo>
                <a:cubicBezTo>
                  <a:pt x="47" y="351"/>
                  <a:pt x="72" y="405"/>
                  <a:pt x="112" y="445"/>
                </a:cubicBezTo>
                <a:cubicBezTo>
                  <a:pt x="118" y="451"/>
                  <a:pt x="118" y="451"/>
                  <a:pt x="118" y="451"/>
                </a:cubicBezTo>
                <a:cubicBezTo>
                  <a:pt x="128" y="443"/>
                  <a:pt x="139" y="436"/>
                  <a:pt x="151" y="430"/>
                </a:cubicBezTo>
                <a:cubicBezTo>
                  <a:pt x="135" y="390"/>
                  <a:pt x="126" y="343"/>
                  <a:pt x="125" y="291"/>
                </a:cubicBezTo>
                <a:cubicBezTo>
                  <a:pt x="43" y="291"/>
                  <a:pt x="43" y="291"/>
                  <a:pt x="43" y="291"/>
                </a:cubicBezTo>
                <a:close/>
                <a:moveTo>
                  <a:pt x="138" y="468"/>
                </a:moveTo>
                <a:cubicBezTo>
                  <a:pt x="138" y="468"/>
                  <a:pt x="138" y="468"/>
                  <a:pt x="138" y="468"/>
                </a:cubicBezTo>
                <a:cubicBezTo>
                  <a:pt x="153" y="479"/>
                  <a:pt x="169" y="488"/>
                  <a:pt x="186" y="495"/>
                </a:cubicBezTo>
                <a:cubicBezTo>
                  <a:pt x="179" y="487"/>
                  <a:pt x="173" y="477"/>
                  <a:pt x="167" y="466"/>
                </a:cubicBezTo>
                <a:cubicBezTo>
                  <a:pt x="165" y="462"/>
                  <a:pt x="163" y="458"/>
                  <a:pt x="161" y="454"/>
                </a:cubicBezTo>
                <a:cubicBezTo>
                  <a:pt x="153" y="458"/>
                  <a:pt x="145" y="463"/>
                  <a:pt x="138" y="468"/>
                </a:cubicBezTo>
                <a:close/>
                <a:moveTo>
                  <a:pt x="292" y="514"/>
                </a:moveTo>
                <a:cubicBezTo>
                  <a:pt x="292" y="514"/>
                  <a:pt x="292" y="514"/>
                  <a:pt x="292" y="514"/>
                </a:cubicBezTo>
                <a:cubicBezTo>
                  <a:pt x="300" y="513"/>
                  <a:pt x="309" y="512"/>
                  <a:pt x="318" y="511"/>
                </a:cubicBezTo>
                <a:cubicBezTo>
                  <a:pt x="336" y="499"/>
                  <a:pt x="353" y="480"/>
                  <a:pt x="367" y="454"/>
                </a:cubicBezTo>
                <a:cubicBezTo>
                  <a:pt x="369" y="450"/>
                  <a:pt x="372" y="446"/>
                  <a:pt x="373" y="442"/>
                </a:cubicBezTo>
                <a:cubicBezTo>
                  <a:pt x="370" y="441"/>
                  <a:pt x="367" y="440"/>
                  <a:pt x="364" y="439"/>
                </a:cubicBezTo>
                <a:cubicBezTo>
                  <a:pt x="341" y="430"/>
                  <a:pt x="317" y="425"/>
                  <a:pt x="292" y="424"/>
                </a:cubicBezTo>
                <a:cubicBezTo>
                  <a:pt x="292" y="514"/>
                  <a:pt x="292" y="514"/>
                  <a:pt x="292" y="514"/>
                </a:cubicBezTo>
                <a:close/>
                <a:moveTo>
                  <a:pt x="371" y="495"/>
                </a:moveTo>
                <a:cubicBezTo>
                  <a:pt x="371" y="495"/>
                  <a:pt x="371" y="495"/>
                  <a:pt x="371" y="495"/>
                </a:cubicBezTo>
                <a:cubicBezTo>
                  <a:pt x="388" y="488"/>
                  <a:pt x="404" y="479"/>
                  <a:pt x="419" y="468"/>
                </a:cubicBezTo>
                <a:cubicBezTo>
                  <a:pt x="412" y="463"/>
                  <a:pt x="404" y="458"/>
                  <a:pt x="397" y="454"/>
                </a:cubicBezTo>
                <a:cubicBezTo>
                  <a:pt x="394" y="458"/>
                  <a:pt x="392" y="462"/>
                  <a:pt x="390" y="466"/>
                </a:cubicBezTo>
                <a:cubicBezTo>
                  <a:pt x="384" y="477"/>
                  <a:pt x="378" y="487"/>
                  <a:pt x="371" y="495"/>
                </a:cubicBezTo>
                <a:close/>
                <a:moveTo>
                  <a:pt x="440" y="451"/>
                </a:moveTo>
                <a:cubicBezTo>
                  <a:pt x="440" y="451"/>
                  <a:pt x="440" y="451"/>
                  <a:pt x="440" y="451"/>
                </a:cubicBezTo>
                <a:cubicBezTo>
                  <a:pt x="445" y="445"/>
                  <a:pt x="445" y="445"/>
                  <a:pt x="445" y="445"/>
                </a:cubicBezTo>
                <a:cubicBezTo>
                  <a:pt x="485" y="405"/>
                  <a:pt x="511" y="351"/>
                  <a:pt x="514" y="291"/>
                </a:cubicBezTo>
                <a:cubicBezTo>
                  <a:pt x="433" y="291"/>
                  <a:pt x="433" y="291"/>
                  <a:pt x="433" y="291"/>
                </a:cubicBezTo>
                <a:cubicBezTo>
                  <a:pt x="431" y="343"/>
                  <a:pt x="422" y="390"/>
                  <a:pt x="407" y="430"/>
                </a:cubicBezTo>
                <a:cubicBezTo>
                  <a:pt x="418" y="436"/>
                  <a:pt x="429" y="443"/>
                  <a:pt x="440" y="451"/>
                </a:cubicBezTo>
                <a:close/>
                <a:moveTo>
                  <a:pt x="384" y="138"/>
                </a:moveTo>
                <a:cubicBezTo>
                  <a:pt x="384" y="138"/>
                  <a:pt x="384" y="138"/>
                  <a:pt x="384" y="138"/>
                </a:cubicBezTo>
                <a:cubicBezTo>
                  <a:pt x="380" y="140"/>
                  <a:pt x="376" y="141"/>
                  <a:pt x="373" y="142"/>
                </a:cubicBezTo>
                <a:cubicBezTo>
                  <a:pt x="347" y="152"/>
                  <a:pt x="320" y="158"/>
                  <a:pt x="292" y="159"/>
                </a:cubicBezTo>
                <a:cubicBezTo>
                  <a:pt x="292" y="266"/>
                  <a:pt x="292" y="266"/>
                  <a:pt x="292" y="266"/>
                </a:cubicBezTo>
                <a:cubicBezTo>
                  <a:pt x="407" y="266"/>
                  <a:pt x="407" y="266"/>
                  <a:pt x="407" y="266"/>
                </a:cubicBezTo>
                <a:cubicBezTo>
                  <a:pt x="406" y="218"/>
                  <a:pt x="397" y="175"/>
                  <a:pt x="384" y="138"/>
                </a:cubicBezTo>
                <a:close/>
                <a:moveTo>
                  <a:pt x="266" y="159"/>
                </a:moveTo>
                <a:cubicBezTo>
                  <a:pt x="266" y="159"/>
                  <a:pt x="266" y="159"/>
                  <a:pt x="266" y="159"/>
                </a:cubicBezTo>
                <a:cubicBezTo>
                  <a:pt x="237" y="158"/>
                  <a:pt x="210" y="152"/>
                  <a:pt x="185" y="142"/>
                </a:cubicBezTo>
                <a:cubicBezTo>
                  <a:pt x="181" y="141"/>
                  <a:pt x="177" y="140"/>
                  <a:pt x="174" y="138"/>
                </a:cubicBezTo>
                <a:cubicBezTo>
                  <a:pt x="160" y="175"/>
                  <a:pt x="151" y="218"/>
                  <a:pt x="150" y="266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159"/>
                  <a:pt x="266" y="159"/>
                  <a:pt x="266" y="159"/>
                </a:cubicBezTo>
                <a:close/>
                <a:moveTo>
                  <a:pt x="266" y="398"/>
                </a:moveTo>
                <a:cubicBezTo>
                  <a:pt x="266" y="398"/>
                  <a:pt x="266" y="398"/>
                  <a:pt x="266" y="398"/>
                </a:cubicBezTo>
                <a:cubicBezTo>
                  <a:pt x="266" y="291"/>
                  <a:pt x="266" y="291"/>
                  <a:pt x="266" y="291"/>
                </a:cubicBezTo>
                <a:cubicBezTo>
                  <a:pt x="150" y="291"/>
                  <a:pt x="150" y="291"/>
                  <a:pt x="150" y="291"/>
                </a:cubicBezTo>
                <a:cubicBezTo>
                  <a:pt x="151" y="339"/>
                  <a:pt x="160" y="382"/>
                  <a:pt x="174" y="419"/>
                </a:cubicBezTo>
                <a:cubicBezTo>
                  <a:pt x="177" y="417"/>
                  <a:pt x="181" y="416"/>
                  <a:pt x="185" y="415"/>
                </a:cubicBezTo>
                <a:cubicBezTo>
                  <a:pt x="210" y="405"/>
                  <a:pt x="237" y="399"/>
                  <a:pt x="266" y="398"/>
                </a:cubicBezTo>
                <a:close/>
                <a:moveTo>
                  <a:pt x="292" y="398"/>
                </a:moveTo>
                <a:cubicBezTo>
                  <a:pt x="292" y="398"/>
                  <a:pt x="292" y="398"/>
                  <a:pt x="292" y="398"/>
                </a:cubicBezTo>
                <a:cubicBezTo>
                  <a:pt x="320" y="399"/>
                  <a:pt x="347" y="405"/>
                  <a:pt x="373" y="415"/>
                </a:cubicBezTo>
                <a:cubicBezTo>
                  <a:pt x="376" y="416"/>
                  <a:pt x="380" y="417"/>
                  <a:pt x="384" y="419"/>
                </a:cubicBezTo>
                <a:cubicBezTo>
                  <a:pt x="397" y="382"/>
                  <a:pt x="406" y="339"/>
                  <a:pt x="407" y="291"/>
                </a:cubicBezTo>
                <a:cubicBezTo>
                  <a:pt x="292" y="291"/>
                  <a:pt x="292" y="291"/>
                  <a:pt x="292" y="291"/>
                </a:cubicBezTo>
                <a:cubicBezTo>
                  <a:pt x="292" y="398"/>
                  <a:pt x="292" y="398"/>
                  <a:pt x="292" y="3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7" name="307986639"/>
          <p:cNvSpPr>
            <a:spLocks noChangeArrowheads="1"/>
          </p:cNvSpPr>
          <p:nvPr/>
        </p:nvSpPr>
        <p:spPr bwMode="auto">
          <a:xfrm>
            <a:off x="2488446" y="4280563"/>
            <a:ext cx="18517" cy="693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8" name="612985877"/>
          <p:cNvSpPr>
            <a:spLocks noEditPoints="1"/>
          </p:cNvSpPr>
          <p:nvPr/>
        </p:nvSpPr>
        <p:spPr bwMode="auto">
          <a:xfrm>
            <a:off x="2513403" y="4291466"/>
            <a:ext cx="41059" cy="59191"/>
          </a:xfrm>
          <a:custGeom>
            <a:avLst/>
            <a:gdLst>
              <a:gd name="T0" fmla="*/ 214 w 237"/>
              <a:gd name="T1" fmla="*/ 37 h 352"/>
              <a:gd name="T2" fmla="*/ 175 w 237"/>
              <a:gd name="T3" fmla="*/ 10 h 352"/>
              <a:gd name="T4" fmla="*/ 115 w 237"/>
              <a:gd name="T5" fmla="*/ 0 h 352"/>
              <a:gd name="T6" fmla="*/ 47 w 237"/>
              <a:gd name="T7" fmla="*/ 16 h 352"/>
              <a:gd name="T8" fmla="*/ 10 w 237"/>
              <a:gd name="T9" fmla="*/ 59 h 352"/>
              <a:gd name="T10" fmla="*/ 0 w 237"/>
              <a:gd name="T11" fmla="*/ 133 h 352"/>
              <a:gd name="T12" fmla="*/ 0 w 237"/>
              <a:gd name="T13" fmla="*/ 220 h 352"/>
              <a:gd name="T14" fmla="*/ 6 w 237"/>
              <a:gd name="T15" fmla="*/ 285 h 352"/>
              <a:gd name="T16" fmla="*/ 25 w 237"/>
              <a:gd name="T17" fmla="*/ 322 h 352"/>
              <a:gd name="T18" fmla="*/ 62 w 237"/>
              <a:gd name="T19" fmla="*/ 344 h 352"/>
              <a:gd name="T20" fmla="*/ 120 w 237"/>
              <a:gd name="T21" fmla="*/ 352 h 352"/>
              <a:gd name="T22" fmla="*/ 174 w 237"/>
              <a:gd name="T23" fmla="*/ 343 h 352"/>
              <a:gd name="T24" fmla="*/ 213 w 237"/>
              <a:gd name="T25" fmla="*/ 316 h 352"/>
              <a:gd name="T26" fmla="*/ 233 w 237"/>
              <a:gd name="T27" fmla="*/ 276 h 352"/>
              <a:gd name="T28" fmla="*/ 237 w 237"/>
              <a:gd name="T29" fmla="*/ 209 h 352"/>
              <a:gd name="T30" fmla="*/ 237 w 237"/>
              <a:gd name="T31" fmla="*/ 125 h 352"/>
              <a:gd name="T32" fmla="*/ 232 w 237"/>
              <a:gd name="T33" fmla="*/ 72 h 352"/>
              <a:gd name="T34" fmla="*/ 214 w 237"/>
              <a:gd name="T35" fmla="*/ 37 h 352"/>
              <a:gd name="T36" fmla="*/ 134 w 237"/>
              <a:gd name="T37" fmla="*/ 257 h 352"/>
              <a:gd name="T38" fmla="*/ 131 w 237"/>
              <a:gd name="T39" fmla="*/ 285 h 352"/>
              <a:gd name="T40" fmla="*/ 119 w 237"/>
              <a:gd name="T41" fmla="*/ 292 h 352"/>
              <a:gd name="T42" fmla="*/ 107 w 237"/>
              <a:gd name="T43" fmla="*/ 285 h 352"/>
              <a:gd name="T44" fmla="*/ 104 w 237"/>
              <a:gd name="T45" fmla="*/ 253 h 352"/>
              <a:gd name="T46" fmla="*/ 104 w 237"/>
              <a:gd name="T47" fmla="*/ 100 h 352"/>
              <a:gd name="T48" fmla="*/ 107 w 237"/>
              <a:gd name="T49" fmla="*/ 67 h 352"/>
              <a:gd name="T50" fmla="*/ 119 w 237"/>
              <a:gd name="T51" fmla="*/ 60 h 352"/>
              <a:gd name="T52" fmla="*/ 131 w 237"/>
              <a:gd name="T53" fmla="*/ 67 h 352"/>
              <a:gd name="T54" fmla="*/ 134 w 237"/>
              <a:gd name="T55" fmla="*/ 100 h 352"/>
              <a:gd name="T56" fmla="*/ 134 w 237"/>
              <a:gd name="T57" fmla="*/ 257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37" h="352">
                <a:moveTo>
                  <a:pt x="214" y="37"/>
                </a:moveTo>
                <a:cubicBezTo>
                  <a:pt x="205" y="26"/>
                  <a:pt x="192" y="17"/>
                  <a:pt x="175" y="10"/>
                </a:cubicBezTo>
                <a:cubicBezTo>
                  <a:pt x="159" y="3"/>
                  <a:pt x="139" y="0"/>
                  <a:pt x="115" y="0"/>
                </a:cubicBezTo>
                <a:cubicBezTo>
                  <a:pt x="88" y="0"/>
                  <a:pt x="65" y="5"/>
                  <a:pt x="47" y="16"/>
                </a:cubicBezTo>
                <a:cubicBezTo>
                  <a:pt x="30" y="27"/>
                  <a:pt x="17" y="41"/>
                  <a:pt x="10" y="59"/>
                </a:cubicBezTo>
                <a:cubicBezTo>
                  <a:pt x="4" y="77"/>
                  <a:pt x="0" y="101"/>
                  <a:pt x="0" y="133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49"/>
                  <a:pt x="2" y="270"/>
                  <a:pt x="6" y="285"/>
                </a:cubicBezTo>
                <a:cubicBezTo>
                  <a:pt x="10" y="299"/>
                  <a:pt x="16" y="312"/>
                  <a:pt x="25" y="322"/>
                </a:cubicBezTo>
                <a:cubicBezTo>
                  <a:pt x="33" y="332"/>
                  <a:pt x="46" y="339"/>
                  <a:pt x="62" y="344"/>
                </a:cubicBezTo>
                <a:cubicBezTo>
                  <a:pt x="78" y="350"/>
                  <a:pt x="97" y="352"/>
                  <a:pt x="120" y="352"/>
                </a:cubicBezTo>
                <a:cubicBezTo>
                  <a:pt x="140" y="352"/>
                  <a:pt x="158" y="349"/>
                  <a:pt x="174" y="343"/>
                </a:cubicBezTo>
                <a:cubicBezTo>
                  <a:pt x="190" y="337"/>
                  <a:pt x="203" y="328"/>
                  <a:pt x="213" y="316"/>
                </a:cubicBezTo>
                <a:cubicBezTo>
                  <a:pt x="223" y="303"/>
                  <a:pt x="230" y="290"/>
                  <a:pt x="233" y="276"/>
                </a:cubicBezTo>
                <a:cubicBezTo>
                  <a:pt x="236" y="262"/>
                  <a:pt x="237" y="239"/>
                  <a:pt x="237" y="209"/>
                </a:cubicBezTo>
                <a:cubicBezTo>
                  <a:pt x="237" y="125"/>
                  <a:pt x="237" y="125"/>
                  <a:pt x="237" y="125"/>
                </a:cubicBezTo>
                <a:cubicBezTo>
                  <a:pt x="237" y="101"/>
                  <a:pt x="236" y="83"/>
                  <a:pt x="232" y="72"/>
                </a:cubicBezTo>
                <a:cubicBezTo>
                  <a:pt x="229" y="60"/>
                  <a:pt x="223" y="48"/>
                  <a:pt x="214" y="37"/>
                </a:cubicBezTo>
                <a:close/>
                <a:moveTo>
                  <a:pt x="134" y="257"/>
                </a:moveTo>
                <a:cubicBezTo>
                  <a:pt x="134" y="271"/>
                  <a:pt x="133" y="281"/>
                  <a:pt x="131" y="285"/>
                </a:cubicBezTo>
                <a:cubicBezTo>
                  <a:pt x="129" y="290"/>
                  <a:pt x="125" y="292"/>
                  <a:pt x="119" y="292"/>
                </a:cubicBezTo>
                <a:cubicBezTo>
                  <a:pt x="113" y="292"/>
                  <a:pt x="109" y="289"/>
                  <a:pt x="107" y="285"/>
                </a:cubicBezTo>
                <a:cubicBezTo>
                  <a:pt x="105" y="280"/>
                  <a:pt x="104" y="269"/>
                  <a:pt x="104" y="253"/>
                </a:cubicBezTo>
                <a:cubicBezTo>
                  <a:pt x="104" y="100"/>
                  <a:pt x="104" y="100"/>
                  <a:pt x="104" y="100"/>
                </a:cubicBezTo>
                <a:cubicBezTo>
                  <a:pt x="104" y="82"/>
                  <a:pt x="105" y="71"/>
                  <a:pt x="107" y="67"/>
                </a:cubicBezTo>
                <a:cubicBezTo>
                  <a:pt x="109" y="62"/>
                  <a:pt x="113" y="60"/>
                  <a:pt x="119" y="60"/>
                </a:cubicBezTo>
                <a:cubicBezTo>
                  <a:pt x="125" y="60"/>
                  <a:pt x="129" y="62"/>
                  <a:pt x="131" y="67"/>
                </a:cubicBezTo>
                <a:cubicBezTo>
                  <a:pt x="133" y="71"/>
                  <a:pt x="134" y="82"/>
                  <a:pt x="134" y="100"/>
                </a:cubicBezTo>
                <a:lnTo>
                  <a:pt x="134" y="2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9" name="400460172"/>
          <p:cNvSpPr>
            <a:spLocks/>
          </p:cNvSpPr>
          <p:nvPr/>
        </p:nvSpPr>
        <p:spPr bwMode="auto">
          <a:xfrm>
            <a:off x="2557682" y="4280563"/>
            <a:ext cx="41059" cy="69316"/>
          </a:xfrm>
          <a:custGeom>
            <a:avLst/>
            <a:gdLst>
              <a:gd name="T0" fmla="*/ 0 w 51"/>
              <a:gd name="T1" fmla="*/ 0 h 89"/>
              <a:gd name="T2" fmla="*/ 0 w 51"/>
              <a:gd name="T3" fmla="*/ 17 h 89"/>
              <a:gd name="T4" fmla="*/ 14 w 51"/>
              <a:gd name="T5" fmla="*/ 17 h 89"/>
              <a:gd name="T6" fmla="*/ 14 w 51"/>
              <a:gd name="T7" fmla="*/ 89 h 89"/>
              <a:gd name="T8" fmla="*/ 37 w 51"/>
              <a:gd name="T9" fmla="*/ 89 h 89"/>
              <a:gd name="T10" fmla="*/ 37 w 51"/>
              <a:gd name="T11" fmla="*/ 17 h 89"/>
              <a:gd name="T12" fmla="*/ 51 w 51"/>
              <a:gd name="T13" fmla="*/ 17 h 89"/>
              <a:gd name="T14" fmla="*/ 51 w 51"/>
              <a:gd name="T15" fmla="*/ 0 h 89"/>
              <a:gd name="T16" fmla="*/ 0 w 51"/>
              <a:gd name="T17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89">
                <a:moveTo>
                  <a:pt x="0" y="0"/>
                </a:moveTo>
                <a:lnTo>
                  <a:pt x="0" y="17"/>
                </a:lnTo>
                <a:lnTo>
                  <a:pt x="14" y="17"/>
                </a:lnTo>
                <a:lnTo>
                  <a:pt x="14" y="89"/>
                </a:lnTo>
                <a:lnTo>
                  <a:pt x="37" y="89"/>
                </a:lnTo>
                <a:lnTo>
                  <a:pt x="37" y="17"/>
                </a:lnTo>
                <a:lnTo>
                  <a:pt x="51" y="17"/>
                </a:lnTo>
                <a:lnTo>
                  <a:pt x="5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0" name="502588242"/>
          <p:cNvSpPr>
            <a:spLocks noEditPoints="1"/>
          </p:cNvSpPr>
          <p:nvPr/>
        </p:nvSpPr>
        <p:spPr bwMode="auto">
          <a:xfrm>
            <a:off x="2333066" y="4138037"/>
            <a:ext cx="208515" cy="204053"/>
          </a:xfrm>
          <a:custGeom>
            <a:avLst/>
            <a:gdLst>
              <a:gd name="T0" fmla="*/ 811 w 1200"/>
              <a:gd name="T1" fmla="*/ 1126 h 1220"/>
              <a:gd name="T2" fmla="*/ 515 w 1200"/>
              <a:gd name="T3" fmla="*/ 1126 h 1220"/>
              <a:gd name="T4" fmla="*/ 515 w 1200"/>
              <a:gd name="T5" fmla="*/ 94 h 1220"/>
              <a:gd name="T6" fmla="*/ 1106 w 1200"/>
              <a:gd name="T7" fmla="*/ 94 h 1220"/>
              <a:gd name="T8" fmla="*/ 1106 w 1200"/>
              <a:gd name="T9" fmla="*/ 796 h 1220"/>
              <a:gd name="T10" fmla="*/ 1200 w 1200"/>
              <a:gd name="T11" fmla="*/ 796 h 1220"/>
              <a:gd name="T12" fmla="*/ 1200 w 1200"/>
              <a:gd name="T13" fmla="*/ 47 h 1220"/>
              <a:gd name="T14" fmla="*/ 1153 w 1200"/>
              <a:gd name="T15" fmla="*/ 0 h 1220"/>
              <a:gd name="T16" fmla="*/ 468 w 1200"/>
              <a:gd name="T17" fmla="*/ 0 h 1220"/>
              <a:gd name="T18" fmla="*/ 421 w 1200"/>
              <a:gd name="T19" fmla="*/ 47 h 1220"/>
              <a:gd name="T20" fmla="*/ 421 w 1200"/>
              <a:gd name="T21" fmla="*/ 459 h 1220"/>
              <a:gd name="T22" fmla="*/ 46 w 1200"/>
              <a:gd name="T23" fmla="*/ 459 h 1220"/>
              <a:gd name="T24" fmla="*/ 0 w 1200"/>
              <a:gd name="T25" fmla="*/ 506 h 1220"/>
              <a:gd name="T26" fmla="*/ 0 w 1200"/>
              <a:gd name="T27" fmla="*/ 1173 h 1220"/>
              <a:gd name="T28" fmla="*/ 46 w 1200"/>
              <a:gd name="T29" fmla="*/ 1220 h 1220"/>
              <a:gd name="T30" fmla="*/ 811 w 1200"/>
              <a:gd name="T31" fmla="*/ 1220 h 1220"/>
              <a:gd name="T32" fmla="*/ 811 w 1200"/>
              <a:gd name="T33" fmla="*/ 1126 h 1220"/>
              <a:gd name="T34" fmla="*/ 421 w 1200"/>
              <a:gd name="T35" fmla="*/ 1126 h 1220"/>
              <a:gd name="T36" fmla="*/ 94 w 1200"/>
              <a:gd name="T37" fmla="*/ 1126 h 1220"/>
              <a:gd name="T38" fmla="*/ 94 w 1200"/>
              <a:gd name="T39" fmla="*/ 553 h 1220"/>
              <a:gd name="T40" fmla="*/ 421 w 1200"/>
              <a:gd name="T41" fmla="*/ 553 h 1220"/>
              <a:gd name="T42" fmla="*/ 421 w 1200"/>
              <a:gd name="T43" fmla="*/ 1126 h 1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00" h="1220">
                <a:moveTo>
                  <a:pt x="811" y="1126"/>
                </a:moveTo>
                <a:cubicBezTo>
                  <a:pt x="515" y="1126"/>
                  <a:pt x="515" y="1126"/>
                  <a:pt x="515" y="1126"/>
                </a:cubicBezTo>
                <a:cubicBezTo>
                  <a:pt x="515" y="94"/>
                  <a:pt x="515" y="94"/>
                  <a:pt x="515" y="94"/>
                </a:cubicBezTo>
                <a:cubicBezTo>
                  <a:pt x="1106" y="94"/>
                  <a:pt x="1106" y="94"/>
                  <a:pt x="1106" y="94"/>
                </a:cubicBezTo>
                <a:cubicBezTo>
                  <a:pt x="1106" y="796"/>
                  <a:pt x="1106" y="796"/>
                  <a:pt x="1106" y="796"/>
                </a:cubicBezTo>
                <a:cubicBezTo>
                  <a:pt x="1200" y="796"/>
                  <a:pt x="1200" y="796"/>
                  <a:pt x="1200" y="796"/>
                </a:cubicBezTo>
                <a:cubicBezTo>
                  <a:pt x="1200" y="47"/>
                  <a:pt x="1200" y="47"/>
                  <a:pt x="1200" y="47"/>
                </a:cubicBezTo>
                <a:cubicBezTo>
                  <a:pt x="1200" y="21"/>
                  <a:pt x="1179" y="0"/>
                  <a:pt x="1153" y="0"/>
                </a:cubicBezTo>
                <a:cubicBezTo>
                  <a:pt x="468" y="0"/>
                  <a:pt x="468" y="0"/>
                  <a:pt x="468" y="0"/>
                </a:cubicBezTo>
                <a:cubicBezTo>
                  <a:pt x="442" y="0"/>
                  <a:pt x="421" y="21"/>
                  <a:pt x="421" y="47"/>
                </a:cubicBezTo>
                <a:cubicBezTo>
                  <a:pt x="421" y="459"/>
                  <a:pt x="421" y="459"/>
                  <a:pt x="421" y="459"/>
                </a:cubicBezTo>
                <a:cubicBezTo>
                  <a:pt x="46" y="459"/>
                  <a:pt x="46" y="459"/>
                  <a:pt x="46" y="459"/>
                </a:cubicBezTo>
                <a:cubicBezTo>
                  <a:pt x="21" y="459"/>
                  <a:pt x="0" y="480"/>
                  <a:pt x="0" y="506"/>
                </a:cubicBezTo>
                <a:cubicBezTo>
                  <a:pt x="0" y="1173"/>
                  <a:pt x="0" y="1173"/>
                  <a:pt x="0" y="1173"/>
                </a:cubicBezTo>
                <a:cubicBezTo>
                  <a:pt x="0" y="1199"/>
                  <a:pt x="21" y="1220"/>
                  <a:pt x="46" y="1220"/>
                </a:cubicBezTo>
                <a:cubicBezTo>
                  <a:pt x="811" y="1220"/>
                  <a:pt x="811" y="1220"/>
                  <a:pt x="811" y="1220"/>
                </a:cubicBezTo>
                <a:lnTo>
                  <a:pt x="811" y="1126"/>
                </a:lnTo>
                <a:close/>
                <a:moveTo>
                  <a:pt x="421" y="1126"/>
                </a:moveTo>
                <a:cubicBezTo>
                  <a:pt x="94" y="1126"/>
                  <a:pt x="94" y="1126"/>
                  <a:pt x="94" y="1126"/>
                </a:cubicBezTo>
                <a:cubicBezTo>
                  <a:pt x="94" y="553"/>
                  <a:pt x="94" y="553"/>
                  <a:pt x="94" y="553"/>
                </a:cubicBezTo>
                <a:cubicBezTo>
                  <a:pt x="421" y="553"/>
                  <a:pt x="421" y="553"/>
                  <a:pt x="421" y="553"/>
                </a:cubicBezTo>
                <a:lnTo>
                  <a:pt x="421" y="11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1" name="1148125897"/>
          <p:cNvSpPr>
            <a:spLocks/>
          </p:cNvSpPr>
          <p:nvPr/>
        </p:nvSpPr>
        <p:spPr bwMode="auto">
          <a:xfrm>
            <a:off x="2357217" y="4251746"/>
            <a:ext cx="36229" cy="9346"/>
          </a:xfrm>
          <a:custGeom>
            <a:avLst/>
            <a:gdLst>
              <a:gd name="T0" fmla="*/ 28 w 212"/>
              <a:gd name="T1" fmla="*/ 56 h 56"/>
              <a:gd name="T2" fmla="*/ 184 w 212"/>
              <a:gd name="T3" fmla="*/ 56 h 56"/>
              <a:gd name="T4" fmla="*/ 212 w 212"/>
              <a:gd name="T5" fmla="*/ 28 h 56"/>
              <a:gd name="T6" fmla="*/ 184 w 212"/>
              <a:gd name="T7" fmla="*/ 0 h 56"/>
              <a:gd name="T8" fmla="*/ 28 w 212"/>
              <a:gd name="T9" fmla="*/ 0 h 56"/>
              <a:gd name="T10" fmla="*/ 0 w 212"/>
              <a:gd name="T11" fmla="*/ 28 h 56"/>
              <a:gd name="T12" fmla="*/ 28 w 212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6">
                <a:moveTo>
                  <a:pt x="28" y="56"/>
                </a:moveTo>
                <a:cubicBezTo>
                  <a:pt x="184" y="56"/>
                  <a:pt x="184" y="56"/>
                  <a:pt x="184" y="56"/>
                </a:cubicBezTo>
                <a:cubicBezTo>
                  <a:pt x="199" y="56"/>
                  <a:pt x="212" y="43"/>
                  <a:pt x="212" y="28"/>
                </a:cubicBezTo>
                <a:cubicBezTo>
                  <a:pt x="212" y="12"/>
                  <a:pt x="199" y="0"/>
                  <a:pt x="184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8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2" name="1760803758"/>
          <p:cNvSpPr>
            <a:spLocks/>
          </p:cNvSpPr>
          <p:nvPr/>
        </p:nvSpPr>
        <p:spPr bwMode="auto">
          <a:xfrm>
            <a:off x="2481200" y="4213583"/>
            <a:ext cx="36229" cy="9346"/>
          </a:xfrm>
          <a:custGeom>
            <a:avLst/>
            <a:gdLst>
              <a:gd name="T0" fmla="*/ 27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7 w 211"/>
              <a:gd name="T9" fmla="*/ 0 h 56"/>
              <a:gd name="T10" fmla="*/ 0 w 211"/>
              <a:gd name="T11" fmla="*/ 28 h 56"/>
              <a:gd name="T12" fmla="*/ 27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7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8" y="56"/>
                  <a:pt x="211" y="43"/>
                  <a:pt x="211" y="28"/>
                </a:cubicBezTo>
                <a:cubicBezTo>
                  <a:pt x="211" y="12"/>
                  <a:pt x="198" y="0"/>
                  <a:pt x="183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3"/>
                  <a:pt x="12" y="56"/>
                  <a:pt x="27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3" name="1267414643"/>
          <p:cNvSpPr>
            <a:spLocks/>
          </p:cNvSpPr>
          <p:nvPr/>
        </p:nvSpPr>
        <p:spPr bwMode="auto">
          <a:xfrm>
            <a:off x="2357217" y="4289130"/>
            <a:ext cx="36229" cy="9346"/>
          </a:xfrm>
          <a:custGeom>
            <a:avLst/>
            <a:gdLst>
              <a:gd name="T0" fmla="*/ 28 w 212"/>
              <a:gd name="T1" fmla="*/ 57 h 57"/>
              <a:gd name="T2" fmla="*/ 184 w 212"/>
              <a:gd name="T3" fmla="*/ 57 h 57"/>
              <a:gd name="T4" fmla="*/ 212 w 212"/>
              <a:gd name="T5" fmla="*/ 29 h 57"/>
              <a:gd name="T6" fmla="*/ 184 w 212"/>
              <a:gd name="T7" fmla="*/ 0 h 57"/>
              <a:gd name="T8" fmla="*/ 28 w 212"/>
              <a:gd name="T9" fmla="*/ 0 h 57"/>
              <a:gd name="T10" fmla="*/ 0 w 212"/>
              <a:gd name="T11" fmla="*/ 29 h 57"/>
              <a:gd name="T12" fmla="*/ 28 w 212"/>
              <a:gd name="T13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7">
                <a:moveTo>
                  <a:pt x="28" y="57"/>
                </a:moveTo>
                <a:cubicBezTo>
                  <a:pt x="184" y="57"/>
                  <a:pt x="184" y="57"/>
                  <a:pt x="184" y="57"/>
                </a:cubicBezTo>
                <a:cubicBezTo>
                  <a:pt x="199" y="57"/>
                  <a:pt x="212" y="44"/>
                  <a:pt x="212" y="29"/>
                </a:cubicBezTo>
                <a:cubicBezTo>
                  <a:pt x="212" y="13"/>
                  <a:pt x="199" y="0"/>
                  <a:pt x="184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44"/>
                  <a:pt x="13" y="57"/>
                  <a:pt x="28" y="5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4" name="473244452"/>
          <p:cNvSpPr>
            <a:spLocks/>
          </p:cNvSpPr>
          <p:nvPr/>
        </p:nvSpPr>
        <p:spPr bwMode="auto">
          <a:xfrm>
            <a:off x="2430480" y="4176199"/>
            <a:ext cx="37034" cy="9346"/>
          </a:xfrm>
          <a:custGeom>
            <a:avLst/>
            <a:gdLst>
              <a:gd name="T0" fmla="*/ 184 w 212"/>
              <a:gd name="T1" fmla="*/ 0 h 56"/>
              <a:gd name="T2" fmla="*/ 29 w 212"/>
              <a:gd name="T3" fmla="*/ 0 h 56"/>
              <a:gd name="T4" fmla="*/ 0 w 212"/>
              <a:gd name="T5" fmla="*/ 28 h 56"/>
              <a:gd name="T6" fmla="*/ 29 w 212"/>
              <a:gd name="T7" fmla="*/ 56 h 56"/>
              <a:gd name="T8" fmla="*/ 184 w 212"/>
              <a:gd name="T9" fmla="*/ 56 h 56"/>
              <a:gd name="T10" fmla="*/ 212 w 212"/>
              <a:gd name="T11" fmla="*/ 28 h 56"/>
              <a:gd name="T12" fmla="*/ 184 w 212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6">
                <a:moveTo>
                  <a:pt x="184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4"/>
                  <a:pt x="13" y="56"/>
                  <a:pt x="29" y="56"/>
                </a:cubicBezTo>
                <a:cubicBezTo>
                  <a:pt x="184" y="56"/>
                  <a:pt x="184" y="56"/>
                  <a:pt x="184" y="56"/>
                </a:cubicBezTo>
                <a:cubicBezTo>
                  <a:pt x="199" y="56"/>
                  <a:pt x="212" y="44"/>
                  <a:pt x="212" y="28"/>
                </a:cubicBezTo>
                <a:cubicBezTo>
                  <a:pt x="212" y="12"/>
                  <a:pt x="199" y="0"/>
                  <a:pt x="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5" name="382794093"/>
          <p:cNvSpPr>
            <a:spLocks/>
          </p:cNvSpPr>
          <p:nvPr/>
        </p:nvSpPr>
        <p:spPr bwMode="auto">
          <a:xfrm>
            <a:off x="2481200" y="4176199"/>
            <a:ext cx="36229" cy="9346"/>
          </a:xfrm>
          <a:custGeom>
            <a:avLst/>
            <a:gdLst>
              <a:gd name="T0" fmla="*/ 27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7 w 211"/>
              <a:gd name="T9" fmla="*/ 0 h 56"/>
              <a:gd name="T10" fmla="*/ 0 w 211"/>
              <a:gd name="T11" fmla="*/ 28 h 56"/>
              <a:gd name="T12" fmla="*/ 27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7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8" y="56"/>
                  <a:pt x="211" y="44"/>
                  <a:pt x="211" y="28"/>
                </a:cubicBezTo>
                <a:cubicBezTo>
                  <a:pt x="211" y="12"/>
                  <a:pt x="198" y="0"/>
                  <a:pt x="183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4"/>
                  <a:pt x="12" y="56"/>
                  <a:pt x="27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6" name="2011111536"/>
          <p:cNvSpPr>
            <a:spLocks/>
          </p:cNvSpPr>
          <p:nvPr/>
        </p:nvSpPr>
        <p:spPr bwMode="auto">
          <a:xfrm>
            <a:off x="2430480" y="4289130"/>
            <a:ext cx="37034" cy="9346"/>
          </a:xfrm>
          <a:custGeom>
            <a:avLst/>
            <a:gdLst>
              <a:gd name="T0" fmla="*/ 184 w 212"/>
              <a:gd name="T1" fmla="*/ 0 h 57"/>
              <a:gd name="T2" fmla="*/ 29 w 212"/>
              <a:gd name="T3" fmla="*/ 0 h 57"/>
              <a:gd name="T4" fmla="*/ 0 w 212"/>
              <a:gd name="T5" fmla="*/ 29 h 57"/>
              <a:gd name="T6" fmla="*/ 29 w 212"/>
              <a:gd name="T7" fmla="*/ 57 h 57"/>
              <a:gd name="T8" fmla="*/ 184 w 212"/>
              <a:gd name="T9" fmla="*/ 57 h 57"/>
              <a:gd name="T10" fmla="*/ 212 w 212"/>
              <a:gd name="T11" fmla="*/ 29 h 57"/>
              <a:gd name="T12" fmla="*/ 184 w 212"/>
              <a:gd name="T13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7">
                <a:moveTo>
                  <a:pt x="184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44"/>
                  <a:pt x="13" y="57"/>
                  <a:pt x="29" y="57"/>
                </a:cubicBezTo>
                <a:cubicBezTo>
                  <a:pt x="184" y="57"/>
                  <a:pt x="184" y="57"/>
                  <a:pt x="184" y="57"/>
                </a:cubicBezTo>
                <a:cubicBezTo>
                  <a:pt x="199" y="57"/>
                  <a:pt x="212" y="44"/>
                  <a:pt x="212" y="29"/>
                </a:cubicBezTo>
                <a:cubicBezTo>
                  <a:pt x="212" y="13"/>
                  <a:pt x="199" y="0"/>
                  <a:pt x="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7" name="153415467"/>
          <p:cNvSpPr>
            <a:spLocks/>
          </p:cNvSpPr>
          <p:nvPr/>
        </p:nvSpPr>
        <p:spPr bwMode="auto">
          <a:xfrm>
            <a:off x="2430480" y="4213583"/>
            <a:ext cx="37034" cy="9346"/>
          </a:xfrm>
          <a:custGeom>
            <a:avLst/>
            <a:gdLst>
              <a:gd name="T0" fmla="*/ 184 w 212"/>
              <a:gd name="T1" fmla="*/ 0 h 56"/>
              <a:gd name="T2" fmla="*/ 29 w 212"/>
              <a:gd name="T3" fmla="*/ 0 h 56"/>
              <a:gd name="T4" fmla="*/ 0 w 212"/>
              <a:gd name="T5" fmla="*/ 28 h 56"/>
              <a:gd name="T6" fmla="*/ 29 w 212"/>
              <a:gd name="T7" fmla="*/ 56 h 56"/>
              <a:gd name="T8" fmla="*/ 184 w 212"/>
              <a:gd name="T9" fmla="*/ 56 h 56"/>
              <a:gd name="T10" fmla="*/ 212 w 212"/>
              <a:gd name="T11" fmla="*/ 28 h 56"/>
              <a:gd name="T12" fmla="*/ 184 w 212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6">
                <a:moveTo>
                  <a:pt x="184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9" y="56"/>
                </a:cubicBezTo>
                <a:cubicBezTo>
                  <a:pt x="184" y="56"/>
                  <a:pt x="184" y="56"/>
                  <a:pt x="184" y="56"/>
                </a:cubicBezTo>
                <a:cubicBezTo>
                  <a:pt x="199" y="56"/>
                  <a:pt x="212" y="43"/>
                  <a:pt x="212" y="28"/>
                </a:cubicBezTo>
                <a:cubicBezTo>
                  <a:pt x="212" y="12"/>
                  <a:pt x="199" y="0"/>
                  <a:pt x="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8" name="162338523"/>
          <p:cNvSpPr>
            <a:spLocks/>
          </p:cNvSpPr>
          <p:nvPr/>
        </p:nvSpPr>
        <p:spPr bwMode="auto">
          <a:xfrm>
            <a:off x="2481200" y="4251746"/>
            <a:ext cx="36229" cy="9346"/>
          </a:xfrm>
          <a:custGeom>
            <a:avLst/>
            <a:gdLst>
              <a:gd name="T0" fmla="*/ 27 w 211"/>
              <a:gd name="T1" fmla="*/ 56 h 56"/>
              <a:gd name="T2" fmla="*/ 183 w 211"/>
              <a:gd name="T3" fmla="*/ 56 h 56"/>
              <a:gd name="T4" fmla="*/ 211 w 211"/>
              <a:gd name="T5" fmla="*/ 28 h 56"/>
              <a:gd name="T6" fmla="*/ 183 w 211"/>
              <a:gd name="T7" fmla="*/ 0 h 56"/>
              <a:gd name="T8" fmla="*/ 27 w 211"/>
              <a:gd name="T9" fmla="*/ 0 h 56"/>
              <a:gd name="T10" fmla="*/ 0 w 211"/>
              <a:gd name="T11" fmla="*/ 28 h 56"/>
              <a:gd name="T12" fmla="*/ 27 w 211"/>
              <a:gd name="T13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1" h="56">
                <a:moveTo>
                  <a:pt x="27" y="56"/>
                </a:moveTo>
                <a:cubicBezTo>
                  <a:pt x="183" y="56"/>
                  <a:pt x="183" y="56"/>
                  <a:pt x="183" y="56"/>
                </a:cubicBezTo>
                <a:cubicBezTo>
                  <a:pt x="198" y="56"/>
                  <a:pt x="211" y="43"/>
                  <a:pt x="211" y="28"/>
                </a:cubicBezTo>
                <a:cubicBezTo>
                  <a:pt x="211" y="12"/>
                  <a:pt x="198" y="0"/>
                  <a:pt x="183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8"/>
                </a:cubicBezTo>
                <a:cubicBezTo>
                  <a:pt x="0" y="43"/>
                  <a:pt x="12" y="56"/>
                  <a:pt x="27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9" name="498696446"/>
          <p:cNvSpPr>
            <a:spLocks/>
          </p:cNvSpPr>
          <p:nvPr/>
        </p:nvSpPr>
        <p:spPr bwMode="auto">
          <a:xfrm>
            <a:off x="2430480" y="4251746"/>
            <a:ext cx="37034" cy="9346"/>
          </a:xfrm>
          <a:custGeom>
            <a:avLst/>
            <a:gdLst>
              <a:gd name="T0" fmla="*/ 184 w 212"/>
              <a:gd name="T1" fmla="*/ 0 h 56"/>
              <a:gd name="T2" fmla="*/ 29 w 212"/>
              <a:gd name="T3" fmla="*/ 0 h 56"/>
              <a:gd name="T4" fmla="*/ 0 w 212"/>
              <a:gd name="T5" fmla="*/ 28 h 56"/>
              <a:gd name="T6" fmla="*/ 29 w 212"/>
              <a:gd name="T7" fmla="*/ 56 h 56"/>
              <a:gd name="T8" fmla="*/ 184 w 212"/>
              <a:gd name="T9" fmla="*/ 56 h 56"/>
              <a:gd name="T10" fmla="*/ 212 w 212"/>
              <a:gd name="T11" fmla="*/ 28 h 56"/>
              <a:gd name="T12" fmla="*/ 184 w 212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56">
                <a:moveTo>
                  <a:pt x="184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43"/>
                  <a:pt x="13" y="56"/>
                  <a:pt x="29" y="56"/>
                </a:cubicBezTo>
                <a:cubicBezTo>
                  <a:pt x="184" y="56"/>
                  <a:pt x="184" y="56"/>
                  <a:pt x="184" y="56"/>
                </a:cubicBezTo>
                <a:cubicBezTo>
                  <a:pt x="199" y="56"/>
                  <a:pt x="212" y="43"/>
                  <a:pt x="212" y="28"/>
                </a:cubicBezTo>
                <a:cubicBezTo>
                  <a:pt x="212" y="12"/>
                  <a:pt x="199" y="0"/>
                  <a:pt x="1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0" name="1756835765"/>
          <p:cNvSpPr>
            <a:spLocks/>
          </p:cNvSpPr>
          <p:nvPr/>
        </p:nvSpPr>
        <p:spPr bwMode="auto">
          <a:xfrm>
            <a:off x="1223356" y="3605748"/>
            <a:ext cx="26089" cy="5837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5"/>
                  <a:pt x="23" y="3"/>
                </a:cubicBezTo>
                <a:cubicBezTo>
                  <a:pt x="23" y="2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1" name="6451651"/>
          <p:cNvSpPr>
            <a:spLocks/>
          </p:cNvSpPr>
          <p:nvPr/>
        </p:nvSpPr>
        <p:spPr bwMode="auto">
          <a:xfrm>
            <a:off x="1223356" y="3630348"/>
            <a:ext cx="26089" cy="6254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5"/>
                  <a:pt x="23" y="3"/>
                </a:cubicBezTo>
                <a:cubicBezTo>
                  <a:pt x="23" y="1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2" name="339298536"/>
          <p:cNvSpPr>
            <a:spLocks/>
          </p:cNvSpPr>
          <p:nvPr/>
        </p:nvSpPr>
        <p:spPr bwMode="auto">
          <a:xfrm>
            <a:off x="1223356" y="3654948"/>
            <a:ext cx="26089" cy="6254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4"/>
                  <a:pt x="23" y="3"/>
                </a:cubicBezTo>
                <a:cubicBezTo>
                  <a:pt x="23" y="1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4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3" name="1883662235"/>
          <p:cNvSpPr>
            <a:spLocks/>
          </p:cNvSpPr>
          <p:nvPr/>
        </p:nvSpPr>
        <p:spPr bwMode="auto">
          <a:xfrm>
            <a:off x="1133009" y="3654948"/>
            <a:ext cx="27539" cy="6254"/>
          </a:xfrm>
          <a:custGeom>
            <a:avLst/>
            <a:gdLst>
              <a:gd name="T0" fmla="*/ 21 w 24"/>
              <a:gd name="T1" fmla="*/ 6 h 6"/>
              <a:gd name="T2" fmla="*/ 24 w 24"/>
              <a:gd name="T3" fmla="*/ 3 h 6"/>
              <a:gd name="T4" fmla="*/ 21 w 24"/>
              <a:gd name="T5" fmla="*/ 0 h 6"/>
              <a:gd name="T6" fmla="*/ 3 w 24"/>
              <a:gd name="T7" fmla="*/ 0 h 6"/>
              <a:gd name="T8" fmla="*/ 0 w 24"/>
              <a:gd name="T9" fmla="*/ 3 h 6"/>
              <a:gd name="T10" fmla="*/ 3 w 24"/>
              <a:gd name="T11" fmla="*/ 6 h 6"/>
              <a:gd name="T12" fmla="*/ 21 w 24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6">
                <a:moveTo>
                  <a:pt x="21" y="6"/>
                </a:moveTo>
                <a:cubicBezTo>
                  <a:pt x="22" y="6"/>
                  <a:pt x="24" y="4"/>
                  <a:pt x="24" y="3"/>
                </a:cubicBezTo>
                <a:cubicBezTo>
                  <a:pt x="24" y="1"/>
                  <a:pt x="22" y="0"/>
                  <a:pt x="21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0"/>
                  <a:pt x="0" y="1"/>
                  <a:pt x="0" y="3"/>
                </a:cubicBezTo>
                <a:cubicBezTo>
                  <a:pt x="0" y="4"/>
                  <a:pt x="2" y="6"/>
                  <a:pt x="3" y="6"/>
                </a:cubicBezTo>
                <a:lnTo>
                  <a:pt x="21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4" name="2140770529"/>
          <p:cNvSpPr>
            <a:spLocks/>
          </p:cNvSpPr>
          <p:nvPr/>
        </p:nvSpPr>
        <p:spPr bwMode="auto">
          <a:xfrm>
            <a:off x="1133009" y="3678714"/>
            <a:ext cx="27539" cy="7089"/>
          </a:xfrm>
          <a:custGeom>
            <a:avLst/>
            <a:gdLst>
              <a:gd name="T0" fmla="*/ 21 w 24"/>
              <a:gd name="T1" fmla="*/ 7 h 7"/>
              <a:gd name="T2" fmla="*/ 24 w 24"/>
              <a:gd name="T3" fmla="*/ 4 h 7"/>
              <a:gd name="T4" fmla="*/ 21 w 24"/>
              <a:gd name="T5" fmla="*/ 0 h 7"/>
              <a:gd name="T6" fmla="*/ 3 w 24"/>
              <a:gd name="T7" fmla="*/ 0 h 7"/>
              <a:gd name="T8" fmla="*/ 0 w 24"/>
              <a:gd name="T9" fmla="*/ 4 h 7"/>
              <a:gd name="T10" fmla="*/ 3 w 24"/>
              <a:gd name="T11" fmla="*/ 7 h 7"/>
              <a:gd name="T12" fmla="*/ 21 w 24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7">
                <a:moveTo>
                  <a:pt x="21" y="7"/>
                </a:moveTo>
                <a:cubicBezTo>
                  <a:pt x="22" y="7"/>
                  <a:pt x="24" y="5"/>
                  <a:pt x="24" y="4"/>
                </a:cubicBezTo>
                <a:cubicBezTo>
                  <a:pt x="24" y="2"/>
                  <a:pt x="22" y="0"/>
                  <a:pt x="21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5"/>
                  <a:pt x="2" y="7"/>
                  <a:pt x="3" y="7"/>
                </a:cubicBezTo>
                <a:lnTo>
                  <a:pt x="21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5" name="2121464965"/>
          <p:cNvSpPr>
            <a:spLocks/>
          </p:cNvSpPr>
          <p:nvPr/>
        </p:nvSpPr>
        <p:spPr bwMode="auto">
          <a:xfrm>
            <a:off x="1223356" y="3678714"/>
            <a:ext cx="26089" cy="7089"/>
          </a:xfrm>
          <a:custGeom>
            <a:avLst/>
            <a:gdLst>
              <a:gd name="T0" fmla="*/ 20 w 23"/>
              <a:gd name="T1" fmla="*/ 7 h 7"/>
              <a:gd name="T2" fmla="*/ 23 w 23"/>
              <a:gd name="T3" fmla="*/ 4 h 7"/>
              <a:gd name="T4" fmla="*/ 20 w 23"/>
              <a:gd name="T5" fmla="*/ 0 h 7"/>
              <a:gd name="T6" fmla="*/ 3 w 23"/>
              <a:gd name="T7" fmla="*/ 0 h 7"/>
              <a:gd name="T8" fmla="*/ 0 w 23"/>
              <a:gd name="T9" fmla="*/ 4 h 7"/>
              <a:gd name="T10" fmla="*/ 3 w 23"/>
              <a:gd name="T11" fmla="*/ 7 h 7"/>
              <a:gd name="T12" fmla="*/ 20 w 2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7">
                <a:moveTo>
                  <a:pt x="20" y="7"/>
                </a:moveTo>
                <a:cubicBezTo>
                  <a:pt x="22" y="7"/>
                  <a:pt x="23" y="5"/>
                  <a:pt x="23" y="4"/>
                </a:cubicBezTo>
                <a:cubicBezTo>
                  <a:pt x="23" y="2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1" y="7"/>
                  <a:pt x="3" y="7"/>
                </a:cubicBezTo>
                <a:lnTo>
                  <a:pt x="2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6" name="1326305109"/>
          <p:cNvSpPr>
            <a:spLocks/>
          </p:cNvSpPr>
          <p:nvPr/>
        </p:nvSpPr>
        <p:spPr bwMode="auto">
          <a:xfrm>
            <a:off x="1186638" y="3654948"/>
            <a:ext cx="26572" cy="6254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4"/>
                  <a:pt x="23" y="3"/>
                </a:cubicBezTo>
                <a:cubicBezTo>
                  <a:pt x="23" y="1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4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7" name="1565447053"/>
          <p:cNvSpPr>
            <a:spLocks/>
          </p:cNvSpPr>
          <p:nvPr/>
        </p:nvSpPr>
        <p:spPr bwMode="auto">
          <a:xfrm>
            <a:off x="1186638" y="3605748"/>
            <a:ext cx="26572" cy="5837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5"/>
                  <a:pt x="23" y="3"/>
                </a:cubicBezTo>
                <a:cubicBezTo>
                  <a:pt x="23" y="2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8" name="990479731"/>
          <p:cNvSpPr>
            <a:spLocks/>
          </p:cNvSpPr>
          <p:nvPr/>
        </p:nvSpPr>
        <p:spPr bwMode="auto">
          <a:xfrm>
            <a:off x="1186638" y="3678714"/>
            <a:ext cx="26572" cy="7089"/>
          </a:xfrm>
          <a:custGeom>
            <a:avLst/>
            <a:gdLst>
              <a:gd name="T0" fmla="*/ 20 w 23"/>
              <a:gd name="T1" fmla="*/ 7 h 7"/>
              <a:gd name="T2" fmla="*/ 23 w 23"/>
              <a:gd name="T3" fmla="*/ 4 h 7"/>
              <a:gd name="T4" fmla="*/ 20 w 23"/>
              <a:gd name="T5" fmla="*/ 0 h 7"/>
              <a:gd name="T6" fmla="*/ 3 w 23"/>
              <a:gd name="T7" fmla="*/ 0 h 7"/>
              <a:gd name="T8" fmla="*/ 0 w 23"/>
              <a:gd name="T9" fmla="*/ 4 h 7"/>
              <a:gd name="T10" fmla="*/ 3 w 23"/>
              <a:gd name="T11" fmla="*/ 7 h 7"/>
              <a:gd name="T12" fmla="*/ 20 w 2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7">
                <a:moveTo>
                  <a:pt x="20" y="7"/>
                </a:moveTo>
                <a:cubicBezTo>
                  <a:pt x="22" y="7"/>
                  <a:pt x="23" y="5"/>
                  <a:pt x="23" y="4"/>
                </a:cubicBezTo>
                <a:cubicBezTo>
                  <a:pt x="23" y="2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1" y="7"/>
                  <a:pt x="3" y="7"/>
                </a:cubicBezTo>
                <a:lnTo>
                  <a:pt x="2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9" name="2019527787"/>
          <p:cNvSpPr>
            <a:spLocks/>
          </p:cNvSpPr>
          <p:nvPr/>
        </p:nvSpPr>
        <p:spPr bwMode="auto">
          <a:xfrm>
            <a:off x="1186638" y="3630348"/>
            <a:ext cx="26572" cy="6254"/>
          </a:xfrm>
          <a:custGeom>
            <a:avLst/>
            <a:gdLst>
              <a:gd name="T0" fmla="*/ 20 w 23"/>
              <a:gd name="T1" fmla="*/ 6 h 6"/>
              <a:gd name="T2" fmla="*/ 23 w 23"/>
              <a:gd name="T3" fmla="*/ 3 h 6"/>
              <a:gd name="T4" fmla="*/ 20 w 23"/>
              <a:gd name="T5" fmla="*/ 0 h 6"/>
              <a:gd name="T6" fmla="*/ 3 w 23"/>
              <a:gd name="T7" fmla="*/ 0 h 6"/>
              <a:gd name="T8" fmla="*/ 0 w 23"/>
              <a:gd name="T9" fmla="*/ 3 h 6"/>
              <a:gd name="T10" fmla="*/ 3 w 23"/>
              <a:gd name="T11" fmla="*/ 6 h 6"/>
              <a:gd name="T12" fmla="*/ 20 w 2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20" y="6"/>
                </a:moveTo>
                <a:cubicBezTo>
                  <a:pt x="22" y="6"/>
                  <a:pt x="23" y="5"/>
                  <a:pt x="23" y="3"/>
                </a:cubicBezTo>
                <a:cubicBezTo>
                  <a:pt x="23" y="1"/>
                  <a:pt x="22" y="0"/>
                  <a:pt x="2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lnTo>
                  <a:pt x="2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60" name="1047028877"/>
          <p:cNvSpPr>
            <a:spLocks noEditPoints="1"/>
          </p:cNvSpPr>
          <p:nvPr/>
        </p:nvSpPr>
        <p:spPr bwMode="auto">
          <a:xfrm>
            <a:off x="1037259" y="3488527"/>
            <a:ext cx="305824" cy="221819"/>
          </a:xfrm>
          <a:custGeom>
            <a:avLst/>
            <a:gdLst>
              <a:gd name="T0" fmla="*/ 268 w 268"/>
              <a:gd name="T1" fmla="*/ 134 h 225"/>
              <a:gd name="T2" fmla="*/ 256 w 268"/>
              <a:gd name="T3" fmla="*/ 100 h 225"/>
              <a:gd name="T4" fmla="*/ 232 w 268"/>
              <a:gd name="T5" fmla="*/ 84 h 225"/>
              <a:gd name="T6" fmla="*/ 206 w 268"/>
              <a:gd name="T7" fmla="*/ 27 h 225"/>
              <a:gd name="T8" fmla="*/ 141 w 268"/>
              <a:gd name="T9" fmla="*/ 0 h 225"/>
              <a:gd name="T10" fmla="*/ 91 w 268"/>
              <a:gd name="T11" fmla="*/ 15 h 225"/>
              <a:gd name="T12" fmla="*/ 59 w 268"/>
              <a:gd name="T13" fmla="*/ 50 h 225"/>
              <a:gd name="T14" fmla="*/ 19 w 268"/>
              <a:gd name="T15" fmla="*/ 71 h 225"/>
              <a:gd name="T16" fmla="*/ 0 w 268"/>
              <a:gd name="T17" fmla="*/ 118 h 225"/>
              <a:gd name="T18" fmla="*/ 21 w 268"/>
              <a:gd name="T19" fmla="*/ 168 h 225"/>
              <a:gd name="T20" fmla="*/ 21 w 268"/>
              <a:gd name="T21" fmla="*/ 168 h 225"/>
              <a:gd name="T22" fmla="*/ 68 w 268"/>
              <a:gd name="T23" fmla="*/ 188 h 225"/>
              <a:gd name="T24" fmla="*/ 68 w 268"/>
              <a:gd name="T25" fmla="*/ 219 h 225"/>
              <a:gd name="T26" fmla="*/ 73 w 268"/>
              <a:gd name="T27" fmla="*/ 225 h 225"/>
              <a:gd name="T28" fmla="*/ 195 w 268"/>
              <a:gd name="T29" fmla="*/ 225 h 225"/>
              <a:gd name="T30" fmla="*/ 201 w 268"/>
              <a:gd name="T31" fmla="*/ 219 h 225"/>
              <a:gd name="T32" fmla="*/ 201 w 268"/>
              <a:gd name="T33" fmla="*/ 188 h 225"/>
              <a:gd name="T34" fmla="*/ 215 w 268"/>
              <a:gd name="T35" fmla="*/ 188 h 225"/>
              <a:gd name="T36" fmla="*/ 253 w 268"/>
              <a:gd name="T37" fmla="*/ 172 h 225"/>
              <a:gd name="T38" fmla="*/ 253 w 268"/>
              <a:gd name="T39" fmla="*/ 172 h 225"/>
              <a:gd name="T40" fmla="*/ 253 w 268"/>
              <a:gd name="T41" fmla="*/ 172 h 225"/>
              <a:gd name="T42" fmla="*/ 268 w 268"/>
              <a:gd name="T43" fmla="*/ 134 h 225"/>
              <a:gd name="T44" fmla="*/ 115 w 268"/>
              <a:gd name="T45" fmla="*/ 214 h 225"/>
              <a:gd name="T46" fmla="*/ 78 w 268"/>
              <a:gd name="T47" fmla="*/ 214 h 225"/>
              <a:gd name="T48" fmla="*/ 78 w 268"/>
              <a:gd name="T49" fmla="*/ 151 h 225"/>
              <a:gd name="T50" fmla="*/ 115 w 268"/>
              <a:gd name="T51" fmla="*/ 151 h 225"/>
              <a:gd name="T52" fmla="*/ 115 w 268"/>
              <a:gd name="T53" fmla="*/ 214 h 225"/>
              <a:gd name="T54" fmla="*/ 190 w 268"/>
              <a:gd name="T55" fmla="*/ 214 h 225"/>
              <a:gd name="T56" fmla="*/ 125 w 268"/>
              <a:gd name="T57" fmla="*/ 214 h 225"/>
              <a:gd name="T58" fmla="*/ 125 w 268"/>
              <a:gd name="T59" fmla="*/ 100 h 225"/>
              <a:gd name="T60" fmla="*/ 190 w 268"/>
              <a:gd name="T61" fmla="*/ 100 h 225"/>
              <a:gd name="T62" fmla="*/ 190 w 268"/>
              <a:gd name="T63" fmla="*/ 214 h 225"/>
              <a:gd name="T64" fmla="*/ 238 w 268"/>
              <a:gd name="T65" fmla="*/ 158 h 225"/>
              <a:gd name="T66" fmla="*/ 215 w 268"/>
              <a:gd name="T67" fmla="*/ 167 h 225"/>
              <a:gd name="T68" fmla="*/ 201 w 268"/>
              <a:gd name="T69" fmla="*/ 167 h 225"/>
              <a:gd name="T70" fmla="*/ 201 w 268"/>
              <a:gd name="T71" fmla="*/ 95 h 225"/>
              <a:gd name="T72" fmla="*/ 195 w 268"/>
              <a:gd name="T73" fmla="*/ 90 h 225"/>
              <a:gd name="T74" fmla="*/ 120 w 268"/>
              <a:gd name="T75" fmla="*/ 90 h 225"/>
              <a:gd name="T76" fmla="*/ 115 w 268"/>
              <a:gd name="T77" fmla="*/ 95 h 225"/>
              <a:gd name="T78" fmla="*/ 115 w 268"/>
              <a:gd name="T79" fmla="*/ 141 h 225"/>
              <a:gd name="T80" fmla="*/ 73 w 268"/>
              <a:gd name="T81" fmla="*/ 141 h 225"/>
              <a:gd name="T82" fmla="*/ 68 w 268"/>
              <a:gd name="T83" fmla="*/ 146 h 225"/>
              <a:gd name="T84" fmla="*/ 68 w 268"/>
              <a:gd name="T85" fmla="*/ 167 h 225"/>
              <a:gd name="T86" fmla="*/ 35 w 268"/>
              <a:gd name="T87" fmla="*/ 153 h 225"/>
              <a:gd name="T88" fmla="*/ 35 w 268"/>
              <a:gd name="T89" fmla="*/ 153 h 225"/>
              <a:gd name="T90" fmla="*/ 21 w 268"/>
              <a:gd name="T91" fmla="*/ 118 h 225"/>
              <a:gd name="T92" fmla="*/ 34 w 268"/>
              <a:gd name="T93" fmla="*/ 85 h 225"/>
              <a:gd name="T94" fmla="*/ 67 w 268"/>
              <a:gd name="T95" fmla="*/ 70 h 225"/>
              <a:gd name="T96" fmla="*/ 76 w 268"/>
              <a:gd name="T97" fmla="*/ 64 h 225"/>
              <a:gd name="T98" fmla="*/ 102 w 268"/>
              <a:gd name="T99" fmla="*/ 32 h 225"/>
              <a:gd name="T100" fmla="*/ 141 w 268"/>
              <a:gd name="T101" fmla="*/ 21 h 225"/>
              <a:gd name="T102" fmla="*/ 191 w 268"/>
              <a:gd name="T103" fmla="*/ 41 h 225"/>
              <a:gd name="T104" fmla="*/ 212 w 268"/>
              <a:gd name="T105" fmla="*/ 92 h 225"/>
              <a:gd name="T106" fmla="*/ 221 w 268"/>
              <a:gd name="T107" fmla="*/ 102 h 225"/>
              <a:gd name="T108" fmla="*/ 240 w 268"/>
              <a:gd name="T109" fmla="*/ 113 h 225"/>
              <a:gd name="T110" fmla="*/ 248 w 268"/>
              <a:gd name="T111" fmla="*/ 134 h 225"/>
              <a:gd name="T112" fmla="*/ 238 w 268"/>
              <a:gd name="T113" fmla="*/ 158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68" h="225">
                <a:moveTo>
                  <a:pt x="268" y="134"/>
                </a:moveTo>
                <a:cubicBezTo>
                  <a:pt x="268" y="121"/>
                  <a:pt x="264" y="109"/>
                  <a:pt x="256" y="100"/>
                </a:cubicBezTo>
                <a:cubicBezTo>
                  <a:pt x="250" y="92"/>
                  <a:pt x="241" y="87"/>
                  <a:pt x="232" y="84"/>
                </a:cubicBezTo>
                <a:cubicBezTo>
                  <a:pt x="230" y="61"/>
                  <a:pt x="221" y="42"/>
                  <a:pt x="206" y="27"/>
                </a:cubicBezTo>
                <a:cubicBezTo>
                  <a:pt x="189" y="10"/>
                  <a:pt x="166" y="0"/>
                  <a:pt x="141" y="0"/>
                </a:cubicBezTo>
                <a:cubicBezTo>
                  <a:pt x="122" y="0"/>
                  <a:pt x="105" y="6"/>
                  <a:pt x="91" y="15"/>
                </a:cubicBezTo>
                <a:cubicBezTo>
                  <a:pt x="77" y="24"/>
                  <a:pt x="67" y="36"/>
                  <a:pt x="59" y="50"/>
                </a:cubicBezTo>
                <a:cubicBezTo>
                  <a:pt x="44" y="52"/>
                  <a:pt x="30" y="60"/>
                  <a:pt x="19" y="71"/>
                </a:cubicBezTo>
                <a:cubicBezTo>
                  <a:pt x="8" y="83"/>
                  <a:pt x="0" y="100"/>
                  <a:pt x="0" y="118"/>
                </a:cubicBezTo>
                <a:cubicBezTo>
                  <a:pt x="0" y="138"/>
                  <a:pt x="8" y="155"/>
                  <a:pt x="21" y="168"/>
                </a:cubicBezTo>
                <a:cubicBezTo>
                  <a:pt x="21" y="168"/>
                  <a:pt x="21" y="168"/>
                  <a:pt x="21" y="168"/>
                </a:cubicBezTo>
                <a:cubicBezTo>
                  <a:pt x="33" y="180"/>
                  <a:pt x="50" y="187"/>
                  <a:pt x="68" y="188"/>
                </a:cubicBezTo>
                <a:cubicBezTo>
                  <a:pt x="68" y="219"/>
                  <a:pt x="68" y="219"/>
                  <a:pt x="68" y="219"/>
                </a:cubicBezTo>
                <a:cubicBezTo>
                  <a:pt x="68" y="222"/>
                  <a:pt x="70" y="225"/>
                  <a:pt x="73" y="225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198" y="225"/>
                  <a:pt x="201" y="222"/>
                  <a:pt x="201" y="219"/>
                </a:cubicBezTo>
                <a:cubicBezTo>
                  <a:pt x="201" y="188"/>
                  <a:pt x="201" y="188"/>
                  <a:pt x="201" y="188"/>
                </a:cubicBezTo>
                <a:cubicBezTo>
                  <a:pt x="215" y="188"/>
                  <a:pt x="215" y="188"/>
                  <a:pt x="215" y="188"/>
                </a:cubicBezTo>
                <a:cubicBezTo>
                  <a:pt x="230" y="188"/>
                  <a:pt x="243" y="182"/>
                  <a:pt x="253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63" y="162"/>
                  <a:pt x="268" y="149"/>
                  <a:pt x="268" y="134"/>
                </a:cubicBezTo>
                <a:close/>
                <a:moveTo>
                  <a:pt x="115" y="214"/>
                </a:moveTo>
                <a:cubicBezTo>
                  <a:pt x="78" y="214"/>
                  <a:pt x="78" y="214"/>
                  <a:pt x="78" y="214"/>
                </a:cubicBezTo>
                <a:cubicBezTo>
                  <a:pt x="78" y="151"/>
                  <a:pt x="78" y="151"/>
                  <a:pt x="78" y="151"/>
                </a:cubicBezTo>
                <a:cubicBezTo>
                  <a:pt x="115" y="151"/>
                  <a:pt x="115" y="151"/>
                  <a:pt x="115" y="151"/>
                </a:cubicBezTo>
                <a:lnTo>
                  <a:pt x="115" y="214"/>
                </a:lnTo>
                <a:close/>
                <a:moveTo>
                  <a:pt x="190" y="214"/>
                </a:moveTo>
                <a:cubicBezTo>
                  <a:pt x="125" y="214"/>
                  <a:pt x="125" y="214"/>
                  <a:pt x="125" y="214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90" y="100"/>
                  <a:pt x="190" y="100"/>
                  <a:pt x="190" y="100"/>
                </a:cubicBezTo>
                <a:lnTo>
                  <a:pt x="190" y="214"/>
                </a:lnTo>
                <a:close/>
                <a:moveTo>
                  <a:pt x="238" y="158"/>
                </a:moveTo>
                <a:cubicBezTo>
                  <a:pt x="232" y="163"/>
                  <a:pt x="224" y="167"/>
                  <a:pt x="215" y="167"/>
                </a:cubicBezTo>
                <a:cubicBezTo>
                  <a:pt x="201" y="167"/>
                  <a:pt x="201" y="167"/>
                  <a:pt x="201" y="167"/>
                </a:cubicBezTo>
                <a:cubicBezTo>
                  <a:pt x="201" y="95"/>
                  <a:pt x="201" y="95"/>
                  <a:pt x="201" y="95"/>
                </a:cubicBezTo>
                <a:cubicBezTo>
                  <a:pt x="201" y="92"/>
                  <a:pt x="198" y="90"/>
                  <a:pt x="195" y="90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17" y="90"/>
                  <a:pt x="115" y="92"/>
                  <a:pt x="115" y="95"/>
                </a:cubicBezTo>
                <a:cubicBezTo>
                  <a:pt x="115" y="141"/>
                  <a:pt x="115" y="141"/>
                  <a:pt x="115" y="141"/>
                </a:cubicBezTo>
                <a:cubicBezTo>
                  <a:pt x="73" y="141"/>
                  <a:pt x="73" y="141"/>
                  <a:pt x="73" y="141"/>
                </a:cubicBezTo>
                <a:cubicBezTo>
                  <a:pt x="70" y="141"/>
                  <a:pt x="68" y="143"/>
                  <a:pt x="68" y="146"/>
                </a:cubicBezTo>
                <a:cubicBezTo>
                  <a:pt x="68" y="167"/>
                  <a:pt x="68" y="167"/>
                  <a:pt x="68" y="167"/>
                </a:cubicBezTo>
                <a:cubicBezTo>
                  <a:pt x="55" y="166"/>
                  <a:pt x="44" y="161"/>
                  <a:pt x="35" y="153"/>
                </a:cubicBezTo>
                <a:cubicBezTo>
                  <a:pt x="35" y="153"/>
                  <a:pt x="35" y="153"/>
                  <a:pt x="35" y="153"/>
                </a:cubicBezTo>
                <a:cubicBezTo>
                  <a:pt x="26" y="144"/>
                  <a:pt x="21" y="132"/>
                  <a:pt x="21" y="118"/>
                </a:cubicBezTo>
                <a:cubicBezTo>
                  <a:pt x="21" y="106"/>
                  <a:pt x="26" y="94"/>
                  <a:pt x="34" y="85"/>
                </a:cubicBezTo>
                <a:cubicBezTo>
                  <a:pt x="42" y="76"/>
                  <a:pt x="54" y="71"/>
                  <a:pt x="67" y="70"/>
                </a:cubicBezTo>
                <a:cubicBezTo>
                  <a:pt x="70" y="70"/>
                  <a:pt x="74" y="67"/>
                  <a:pt x="76" y="64"/>
                </a:cubicBezTo>
                <a:cubicBezTo>
                  <a:pt x="81" y="51"/>
                  <a:pt x="90" y="40"/>
                  <a:pt x="102" y="32"/>
                </a:cubicBezTo>
                <a:cubicBezTo>
                  <a:pt x="113" y="25"/>
                  <a:pt x="127" y="21"/>
                  <a:pt x="141" y="21"/>
                </a:cubicBezTo>
                <a:cubicBezTo>
                  <a:pt x="161" y="21"/>
                  <a:pt x="178" y="29"/>
                  <a:pt x="191" y="41"/>
                </a:cubicBezTo>
                <a:cubicBezTo>
                  <a:pt x="204" y="54"/>
                  <a:pt x="212" y="72"/>
                  <a:pt x="212" y="92"/>
                </a:cubicBezTo>
                <a:cubicBezTo>
                  <a:pt x="212" y="97"/>
                  <a:pt x="216" y="101"/>
                  <a:pt x="221" y="102"/>
                </a:cubicBezTo>
                <a:cubicBezTo>
                  <a:pt x="228" y="103"/>
                  <a:pt x="235" y="107"/>
                  <a:pt x="240" y="113"/>
                </a:cubicBezTo>
                <a:cubicBezTo>
                  <a:pt x="245" y="119"/>
                  <a:pt x="248" y="126"/>
                  <a:pt x="248" y="134"/>
                </a:cubicBezTo>
                <a:cubicBezTo>
                  <a:pt x="248" y="143"/>
                  <a:pt x="244" y="152"/>
                  <a:pt x="238" y="1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61" name="1688525704"/>
          <p:cNvSpPr txBox="1"/>
          <p:nvPr/>
        </p:nvSpPr>
        <p:spPr>
          <a:xfrm>
            <a:off x="408756" y="1709404"/>
            <a:ext cx="373117" cy="809880"/>
          </a:xfrm>
          <a:prstGeom prst="rect">
            <a:avLst/>
          </a:prstGeom>
          <a:noFill/>
        </p:spPr>
        <p:txBody>
          <a:bodyPr vert="vert270" wrap="square" rtlCol="0">
            <a:noAutofit/>
          </a:bodyPr>
          <a:lstStyle/>
          <a:p>
            <a:pPr algn="ctr" fontAlgn="ctr"/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能应用</a:t>
            </a:r>
          </a:p>
        </p:txBody>
      </p:sp>
      <p:sp>
        <p:nvSpPr>
          <p:cNvPr id="262" name="1172851347"/>
          <p:cNvSpPr txBox="1"/>
          <p:nvPr/>
        </p:nvSpPr>
        <p:spPr>
          <a:xfrm>
            <a:off x="448175" y="3378540"/>
            <a:ext cx="265133" cy="484622"/>
          </a:xfrm>
          <a:prstGeom prst="rect">
            <a:avLst/>
          </a:prstGeom>
          <a:noFill/>
        </p:spPr>
        <p:txBody>
          <a:bodyPr vert="vert270" wrap="square" rtlCol="0" anchor="ctr">
            <a:noAutofit/>
          </a:bodyPr>
          <a:lstStyle/>
          <a:p>
            <a:pPr algn="ctr" fontAlgn="ctr"/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 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云</a:t>
            </a:r>
          </a:p>
        </p:txBody>
      </p:sp>
      <p:sp>
        <p:nvSpPr>
          <p:cNvPr id="263" name="891583618"/>
          <p:cNvSpPr txBox="1"/>
          <p:nvPr/>
        </p:nvSpPr>
        <p:spPr>
          <a:xfrm>
            <a:off x="404424" y="3873969"/>
            <a:ext cx="373117" cy="615153"/>
          </a:xfrm>
          <a:prstGeom prst="rect">
            <a:avLst/>
          </a:prstGeom>
          <a:noFill/>
        </p:spPr>
        <p:txBody>
          <a:bodyPr vert="vert270" wrap="square" rtlCol="0" anchor="ctr">
            <a:noAutofit/>
          </a:bodyPr>
          <a:lstStyle/>
          <a:p>
            <a:pPr algn="ctr" fontAlgn="ctr"/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 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网络</a:t>
            </a:r>
          </a:p>
        </p:txBody>
      </p:sp>
      <p:sp>
        <p:nvSpPr>
          <p:cNvPr id="264" name="1950521329"/>
          <p:cNvSpPr>
            <a:spLocks noChangeArrowheads="1"/>
          </p:cNvSpPr>
          <p:nvPr/>
        </p:nvSpPr>
        <p:spPr bwMode="auto">
          <a:xfrm>
            <a:off x="1253227" y="1858714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平安</a:t>
            </a:r>
            <a:endParaRPr lang="en-US" altLang="zh-CN" sz="75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城市</a:t>
            </a:r>
          </a:p>
        </p:txBody>
      </p:sp>
      <p:sp>
        <p:nvSpPr>
          <p:cNvPr id="265" name="2006911676"/>
          <p:cNvSpPr>
            <a:spLocks noChangeArrowheads="1"/>
          </p:cNvSpPr>
          <p:nvPr/>
        </p:nvSpPr>
        <p:spPr bwMode="auto">
          <a:xfrm>
            <a:off x="1841270" y="1858714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</a:t>
            </a:r>
            <a:endParaRPr lang="en-US" altLang="zh-CN" sz="75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园区</a:t>
            </a:r>
          </a:p>
        </p:txBody>
      </p:sp>
      <p:sp>
        <p:nvSpPr>
          <p:cNvPr id="266" name="1383000117"/>
          <p:cNvSpPr>
            <a:spLocks noChangeArrowheads="1"/>
          </p:cNvSpPr>
          <p:nvPr/>
        </p:nvSpPr>
        <p:spPr bwMode="auto">
          <a:xfrm>
            <a:off x="2219213" y="1858714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无线</a:t>
            </a:r>
            <a:endParaRPr lang="en-US" altLang="zh-CN" sz="75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城市</a:t>
            </a:r>
          </a:p>
        </p:txBody>
      </p:sp>
      <p:sp>
        <p:nvSpPr>
          <p:cNvPr id="267" name="923226159"/>
          <p:cNvSpPr>
            <a:spLocks noChangeArrowheads="1"/>
          </p:cNvSpPr>
          <p:nvPr/>
        </p:nvSpPr>
        <p:spPr bwMode="auto">
          <a:xfrm>
            <a:off x="2828389" y="1846785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</a:t>
            </a: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教育</a:t>
            </a:r>
          </a:p>
        </p:txBody>
      </p:sp>
      <p:sp>
        <p:nvSpPr>
          <p:cNvPr id="268" name="702671865"/>
          <p:cNvSpPr>
            <a:spLocks noChangeArrowheads="1"/>
          </p:cNvSpPr>
          <p:nvPr/>
        </p:nvSpPr>
        <p:spPr bwMode="auto">
          <a:xfrm>
            <a:off x="3196936" y="1858714"/>
            <a:ext cx="323916" cy="539859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vert="horz" wrap="square" lIns="0" tIns="0" rIns="0" bIns="0" anchor="ctr" anchorCtr="1">
            <a:noAutofit/>
          </a:bodyPr>
          <a:lstStyle/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智慧</a:t>
            </a:r>
            <a:endParaRPr lang="en-US" altLang="zh-CN" sz="75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algn="ctr" defTabSz="440891" eaLnBrk="0" fontAlgn="ctr" hangingPunct="0">
              <a:lnSpc>
                <a:spcPct val="90000"/>
              </a:lnSpc>
              <a:buSzPct val="60000"/>
              <a:defRPr/>
            </a:pPr>
            <a:r>
              <a:rPr lang="zh-CN" altLang="en-US" sz="7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医疗</a:t>
            </a:r>
          </a:p>
        </p:txBody>
      </p:sp>
      <p:sp>
        <p:nvSpPr>
          <p:cNvPr id="269" name="248462550"/>
          <p:cNvSpPr txBox="1"/>
          <p:nvPr/>
        </p:nvSpPr>
        <p:spPr>
          <a:xfrm>
            <a:off x="1469194" y="2138074"/>
            <a:ext cx="336457" cy="18461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fontAlgn="ctr"/>
            <a:r>
              <a:rPr lang="en-US" altLang="zh-CN" sz="750">
                <a:solidFill>
                  <a:prstClr val="white">
                    <a:lumMod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…</a:t>
            </a:r>
          </a:p>
        </p:txBody>
      </p:sp>
      <p:sp>
        <p:nvSpPr>
          <p:cNvPr id="270" name="52429146"/>
          <p:cNvSpPr txBox="1"/>
          <p:nvPr/>
        </p:nvSpPr>
        <p:spPr>
          <a:xfrm>
            <a:off x="2582547" y="2121963"/>
            <a:ext cx="336457" cy="18461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fontAlgn="ctr"/>
            <a:r>
              <a:rPr lang="en-US" altLang="zh-CN" sz="75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…</a:t>
            </a:r>
          </a:p>
        </p:txBody>
      </p:sp>
      <p:sp>
        <p:nvSpPr>
          <p:cNvPr id="271" name="1712176592"/>
          <p:cNvSpPr txBox="1"/>
          <p:nvPr/>
        </p:nvSpPr>
        <p:spPr>
          <a:xfrm>
            <a:off x="3412904" y="2121963"/>
            <a:ext cx="336457" cy="18461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fontAlgn="ctr"/>
            <a:r>
              <a:rPr lang="en-US" altLang="zh-CN" sz="750">
                <a:solidFill>
                  <a:prstClr val="white">
                    <a:lumMod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…</a:t>
            </a:r>
          </a:p>
        </p:txBody>
      </p:sp>
      <p:sp>
        <p:nvSpPr>
          <p:cNvPr id="272" name="1379266436"/>
          <p:cNvSpPr/>
          <p:nvPr/>
        </p:nvSpPr>
        <p:spPr>
          <a:xfrm>
            <a:off x="794066" y="1825672"/>
            <a:ext cx="837105" cy="63961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ctr"/>
            <a:endParaRPr lang="en-US" altLang="zh-CN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73" name="895183381"/>
          <p:cNvSpPr/>
          <p:nvPr/>
        </p:nvSpPr>
        <p:spPr>
          <a:xfrm>
            <a:off x="1787279" y="1825672"/>
            <a:ext cx="837105" cy="63961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ctr"/>
            <a:endParaRPr lang="en-US" altLang="zh-CN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74" name="629338303"/>
          <p:cNvSpPr/>
          <p:nvPr/>
        </p:nvSpPr>
        <p:spPr>
          <a:xfrm>
            <a:off x="2765001" y="1825672"/>
            <a:ext cx="837105" cy="63961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ctr"/>
            <a:endParaRPr lang="en-US" altLang="zh-CN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75" name="1151041293"/>
          <p:cNvSpPr txBox="1"/>
          <p:nvPr/>
        </p:nvSpPr>
        <p:spPr>
          <a:xfrm>
            <a:off x="821291" y="1637342"/>
            <a:ext cx="809880" cy="2094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fontAlgn="ctr"/>
            <a:r>
              <a:rPr lang="zh-CN" altLang="en-US" sz="825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政府</a:t>
            </a:r>
          </a:p>
        </p:txBody>
      </p:sp>
      <p:sp>
        <p:nvSpPr>
          <p:cNvPr id="276" name="1942689440"/>
          <p:cNvSpPr txBox="1"/>
          <p:nvPr/>
        </p:nvSpPr>
        <p:spPr>
          <a:xfrm>
            <a:off x="1851112" y="1621232"/>
            <a:ext cx="748204" cy="1961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fontAlgn="ctr"/>
            <a:r>
              <a:rPr lang="zh-CN" altLang="en-US" sz="825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行业</a:t>
            </a:r>
          </a:p>
        </p:txBody>
      </p:sp>
      <p:sp>
        <p:nvSpPr>
          <p:cNvPr id="277" name="1693810395"/>
          <p:cNvSpPr txBox="1"/>
          <p:nvPr/>
        </p:nvSpPr>
        <p:spPr>
          <a:xfrm>
            <a:off x="2788778" y="1621232"/>
            <a:ext cx="748204" cy="1961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fontAlgn="ctr"/>
            <a:r>
              <a:rPr lang="zh-CN" altLang="en-US" sz="825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公共</a:t>
            </a:r>
          </a:p>
        </p:txBody>
      </p:sp>
      <p:sp>
        <p:nvSpPr>
          <p:cNvPr id="278" name="AutoShape 44"/>
          <p:cNvSpPr>
            <a:spLocks noChangeArrowheads="1"/>
          </p:cNvSpPr>
          <p:nvPr/>
        </p:nvSpPr>
        <p:spPr bwMode="auto">
          <a:xfrm>
            <a:off x="443352" y="2559425"/>
            <a:ext cx="3401488" cy="728023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FFFFF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endParaRPr lang="en-US" altLang="zh-CN" sz="1050" b="1" kern="0" spc="225" dirty="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79" name="1412264493"/>
          <p:cNvSpPr>
            <a:spLocks noChangeArrowheads="1"/>
          </p:cNvSpPr>
          <p:nvPr/>
        </p:nvSpPr>
        <p:spPr bwMode="auto">
          <a:xfrm>
            <a:off x="2788777" y="2599340"/>
            <a:ext cx="894087" cy="65560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b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en-US" altLang="zh-CN" sz="75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75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应用使能平台</a:t>
            </a:r>
          </a:p>
        </p:txBody>
      </p:sp>
      <p:sp>
        <p:nvSpPr>
          <p:cNvPr id="280" name="AutoShape 44"/>
          <p:cNvSpPr>
            <a:spLocks noChangeArrowheads="1"/>
          </p:cNvSpPr>
          <p:nvPr/>
        </p:nvSpPr>
        <p:spPr bwMode="auto">
          <a:xfrm>
            <a:off x="797270" y="2599340"/>
            <a:ext cx="856300" cy="65269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b" anchorCtr="1">
            <a:noAutofit/>
          </a:bodyPr>
          <a:lstStyle/>
          <a:p>
            <a:pPr algn="ctr" fontAlgn="ctr"/>
            <a:r>
              <a:rPr lang="zh-CN" altLang="en-US" sz="750" b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数据支撑平台</a:t>
            </a:r>
          </a:p>
        </p:txBody>
      </p:sp>
      <p:sp>
        <p:nvSpPr>
          <p:cNvPr id="281" name="2063842403"/>
          <p:cNvSpPr>
            <a:spLocks noEditPoints="1"/>
          </p:cNvSpPr>
          <p:nvPr/>
        </p:nvSpPr>
        <p:spPr bwMode="auto">
          <a:xfrm>
            <a:off x="1109857" y="2701902"/>
            <a:ext cx="261407" cy="230204"/>
          </a:xfrm>
          <a:custGeom>
            <a:avLst/>
            <a:gdLst>
              <a:gd name="T0" fmla="*/ 81 w 308"/>
              <a:gd name="T1" fmla="*/ 133 h 280"/>
              <a:gd name="T2" fmla="*/ 30 w 308"/>
              <a:gd name="T3" fmla="*/ 133 h 280"/>
              <a:gd name="T4" fmla="*/ 37 w 308"/>
              <a:gd name="T5" fmla="*/ 115 h 280"/>
              <a:gd name="T6" fmla="*/ 74 w 308"/>
              <a:gd name="T7" fmla="*/ 103 h 280"/>
              <a:gd name="T8" fmla="*/ 37 w 308"/>
              <a:gd name="T9" fmla="*/ 115 h 280"/>
              <a:gd name="T10" fmla="*/ 220 w 308"/>
              <a:gd name="T11" fmla="*/ 33 h 280"/>
              <a:gd name="T12" fmla="*/ 100 w 308"/>
              <a:gd name="T13" fmla="*/ 0 h 280"/>
              <a:gd name="T14" fmla="*/ 11 w 308"/>
              <a:gd name="T15" fmla="*/ 33 h 280"/>
              <a:gd name="T16" fmla="*/ 11 w 308"/>
              <a:gd name="T17" fmla="*/ 265 h 280"/>
              <a:gd name="T18" fmla="*/ 100 w 308"/>
              <a:gd name="T19" fmla="*/ 280 h 280"/>
              <a:gd name="T20" fmla="*/ 220 w 308"/>
              <a:gd name="T21" fmla="*/ 265 h 280"/>
              <a:gd name="T22" fmla="*/ 308 w 308"/>
              <a:gd name="T23" fmla="*/ 44 h 280"/>
              <a:gd name="T24" fmla="*/ 89 w 308"/>
              <a:gd name="T25" fmla="*/ 243 h 280"/>
              <a:gd name="T26" fmla="*/ 89 w 308"/>
              <a:gd name="T27" fmla="*/ 54 h 280"/>
              <a:gd name="T28" fmla="*/ 198 w 308"/>
              <a:gd name="T29" fmla="*/ 259 h 280"/>
              <a:gd name="T30" fmla="*/ 198 w 308"/>
              <a:gd name="T31" fmla="*/ 22 h 280"/>
              <a:gd name="T32" fmla="*/ 286 w 308"/>
              <a:gd name="T33" fmla="*/ 243 h 280"/>
              <a:gd name="T34" fmla="*/ 286 w 308"/>
              <a:gd name="T35" fmla="*/ 54 h 280"/>
              <a:gd name="T36" fmla="*/ 37 w 308"/>
              <a:gd name="T37" fmla="*/ 92 h 280"/>
              <a:gd name="T38" fmla="*/ 74 w 308"/>
              <a:gd name="T39" fmla="*/ 79 h 280"/>
              <a:gd name="T40" fmla="*/ 37 w 308"/>
              <a:gd name="T41" fmla="*/ 92 h 280"/>
              <a:gd name="T42" fmla="*/ 56 w 308"/>
              <a:gd name="T43" fmla="*/ 183 h 280"/>
              <a:gd name="T44" fmla="*/ 31 w 308"/>
              <a:gd name="T45" fmla="*/ 207 h 280"/>
              <a:gd name="T46" fmla="*/ 56 w 308"/>
              <a:gd name="T47" fmla="*/ 231 h 280"/>
              <a:gd name="T48" fmla="*/ 73 w 308"/>
              <a:gd name="T49" fmla="*/ 190 h 280"/>
              <a:gd name="T50" fmla="*/ 63 w 308"/>
              <a:gd name="T51" fmla="*/ 215 h 280"/>
              <a:gd name="T52" fmla="*/ 47 w 308"/>
              <a:gd name="T53" fmla="*/ 215 h 280"/>
              <a:gd name="T54" fmla="*/ 48 w 308"/>
              <a:gd name="T55" fmla="*/ 199 h 280"/>
              <a:gd name="T56" fmla="*/ 64 w 308"/>
              <a:gd name="T57" fmla="*/ 199 h 280"/>
              <a:gd name="T58" fmla="*/ 234 w 308"/>
              <a:gd name="T59" fmla="*/ 115 h 280"/>
              <a:gd name="T60" fmla="*/ 278 w 308"/>
              <a:gd name="T61" fmla="*/ 109 h 280"/>
              <a:gd name="T62" fmla="*/ 228 w 308"/>
              <a:gd name="T63" fmla="*/ 109 h 280"/>
              <a:gd name="T64" fmla="*/ 234 w 308"/>
              <a:gd name="T65" fmla="*/ 139 h 280"/>
              <a:gd name="T66" fmla="*/ 272 w 308"/>
              <a:gd name="T67" fmla="*/ 126 h 280"/>
              <a:gd name="T68" fmla="*/ 234 w 308"/>
              <a:gd name="T69" fmla="*/ 139 h 280"/>
              <a:gd name="T70" fmla="*/ 272 w 308"/>
              <a:gd name="T71" fmla="*/ 92 h 280"/>
              <a:gd name="T72" fmla="*/ 234 w 308"/>
              <a:gd name="T73" fmla="*/ 79 h 280"/>
              <a:gd name="T74" fmla="*/ 131 w 308"/>
              <a:gd name="T75" fmla="*/ 127 h 280"/>
              <a:gd name="T76" fmla="*/ 184 w 308"/>
              <a:gd name="T77" fmla="*/ 120 h 280"/>
              <a:gd name="T78" fmla="*/ 125 w 308"/>
              <a:gd name="T79" fmla="*/ 120 h 280"/>
              <a:gd name="T80" fmla="*/ 270 w 308"/>
              <a:gd name="T81" fmla="*/ 190 h 280"/>
              <a:gd name="T82" fmla="*/ 236 w 308"/>
              <a:gd name="T83" fmla="*/ 190 h 280"/>
              <a:gd name="T84" fmla="*/ 236 w 308"/>
              <a:gd name="T85" fmla="*/ 224 h 280"/>
              <a:gd name="T86" fmla="*/ 270 w 308"/>
              <a:gd name="T87" fmla="*/ 224 h 280"/>
              <a:gd name="T88" fmla="*/ 270 w 308"/>
              <a:gd name="T89" fmla="*/ 190 h 280"/>
              <a:gd name="T90" fmla="*/ 253 w 308"/>
              <a:gd name="T91" fmla="*/ 218 h 280"/>
              <a:gd name="T92" fmla="*/ 242 w 308"/>
              <a:gd name="T93" fmla="*/ 207 h 280"/>
              <a:gd name="T94" fmla="*/ 253 w 308"/>
              <a:gd name="T95" fmla="*/ 196 h 280"/>
              <a:gd name="T96" fmla="*/ 264 w 308"/>
              <a:gd name="T97" fmla="*/ 207 h 280"/>
              <a:gd name="T98" fmla="*/ 131 w 308"/>
              <a:gd name="T99" fmla="*/ 68 h 280"/>
              <a:gd name="T100" fmla="*/ 178 w 308"/>
              <a:gd name="T101" fmla="*/ 56 h 280"/>
              <a:gd name="T102" fmla="*/ 131 w 308"/>
              <a:gd name="T103" fmla="*/ 68 h 280"/>
              <a:gd name="T104" fmla="*/ 178 w 308"/>
              <a:gd name="T105" fmla="*/ 98 h 280"/>
              <a:gd name="T106" fmla="*/ 131 w 308"/>
              <a:gd name="T107" fmla="*/ 85 h 280"/>
              <a:gd name="T108" fmla="*/ 175 w 308"/>
              <a:gd name="T109" fmla="*/ 192 h 280"/>
              <a:gd name="T110" fmla="*/ 154 w 308"/>
              <a:gd name="T111" fmla="*/ 183 h 280"/>
              <a:gd name="T112" fmla="*/ 126 w 308"/>
              <a:gd name="T113" fmla="*/ 212 h 280"/>
              <a:gd name="T114" fmla="*/ 174 w 308"/>
              <a:gd name="T115" fmla="*/ 232 h 280"/>
              <a:gd name="T116" fmla="*/ 175 w 308"/>
              <a:gd name="T117" fmla="*/ 192 h 280"/>
              <a:gd name="T118" fmla="*/ 154 w 308"/>
              <a:gd name="T119" fmla="*/ 227 h 280"/>
              <a:gd name="T120" fmla="*/ 144 w 308"/>
              <a:gd name="T121" fmla="*/ 222 h 280"/>
              <a:gd name="T122" fmla="*/ 144 w 308"/>
              <a:gd name="T123" fmla="*/ 201 h 280"/>
              <a:gd name="T124" fmla="*/ 165 w 308"/>
              <a:gd name="T125" fmla="*/ 201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" h="280">
                <a:moveTo>
                  <a:pt x="37" y="139"/>
                </a:moveTo>
                <a:cubicBezTo>
                  <a:pt x="74" y="139"/>
                  <a:pt x="74" y="139"/>
                  <a:pt x="74" y="139"/>
                </a:cubicBezTo>
                <a:cubicBezTo>
                  <a:pt x="78" y="139"/>
                  <a:pt x="81" y="136"/>
                  <a:pt x="81" y="133"/>
                </a:cubicBezTo>
                <a:cubicBezTo>
                  <a:pt x="81" y="129"/>
                  <a:pt x="78" y="126"/>
                  <a:pt x="74" y="126"/>
                </a:cubicBezTo>
                <a:cubicBezTo>
                  <a:pt x="37" y="126"/>
                  <a:pt x="37" y="126"/>
                  <a:pt x="37" y="126"/>
                </a:cubicBezTo>
                <a:cubicBezTo>
                  <a:pt x="33" y="126"/>
                  <a:pt x="30" y="129"/>
                  <a:pt x="30" y="133"/>
                </a:cubicBezTo>
                <a:cubicBezTo>
                  <a:pt x="30" y="136"/>
                  <a:pt x="33" y="139"/>
                  <a:pt x="37" y="139"/>
                </a:cubicBezTo>
                <a:close/>
                <a:moveTo>
                  <a:pt x="37" y="115"/>
                </a:moveTo>
                <a:cubicBezTo>
                  <a:pt x="37" y="115"/>
                  <a:pt x="37" y="115"/>
                  <a:pt x="37" y="115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8" y="115"/>
                  <a:pt x="81" y="113"/>
                  <a:pt x="81" y="109"/>
                </a:cubicBezTo>
                <a:cubicBezTo>
                  <a:pt x="81" y="105"/>
                  <a:pt x="78" y="103"/>
                  <a:pt x="74" y="103"/>
                </a:cubicBezTo>
                <a:cubicBezTo>
                  <a:pt x="37" y="103"/>
                  <a:pt x="37" y="103"/>
                  <a:pt x="37" y="103"/>
                </a:cubicBezTo>
                <a:cubicBezTo>
                  <a:pt x="33" y="103"/>
                  <a:pt x="30" y="105"/>
                  <a:pt x="30" y="109"/>
                </a:cubicBezTo>
                <a:cubicBezTo>
                  <a:pt x="30" y="113"/>
                  <a:pt x="33" y="115"/>
                  <a:pt x="37" y="115"/>
                </a:cubicBezTo>
                <a:close/>
                <a:moveTo>
                  <a:pt x="297" y="33"/>
                </a:moveTo>
                <a:cubicBezTo>
                  <a:pt x="297" y="33"/>
                  <a:pt x="297" y="33"/>
                  <a:pt x="297" y="33"/>
                </a:cubicBezTo>
                <a:cubicBezTo>
                  <a:pt x="220" y="33"/>
                  <a:pt x="220" y="33"/>
                  <a:pt x="220" y="33"/>
                </a:cubicBezTo>
                <a:cubicBezTo>
                  <a:pt x="220" y="11"/>
                  <a:pt x="220" y="11"/>
                  <a:pt x="220" y="11"/>
                </a:cubicBezTo>
                <a:cubicBezTo>
                  <a:pt x="220" y="5"/>
                  <a:pt x="215" y="0"/>
                  <a:pt x="209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94" y="0"/>
                  <a:pt x="89" y="5"/>
                  <a:pt x="89" y="11"/>
                </a:cubicBezTo>
                <a:cubicBezTo>
                  <a:pt x="89" y="33"/>
                  <a:pt x="89" y="33"/>
                  <a:pt x="89" y="33"/>
                </a:cubicBezTo>
                <a:cubicBezTo>
                  <a:pt x="11" y="33"/>
                  <a:pt x="11" y="33"/>
                  <a:pt x="11" y="33"/>
                </a:cubicBezTo>
                <a:cubicBezTo>
                  <a:pt x="5" y="33"/>
                  <a:pt x="0" y="38"/>
                  <a:pt x="0" y="44"/>
                </a:cubicBezTo>
                <a:cubicBezTo>
                  <a:pt x="0" y="254"/>
                  <a:pt x="0" y="254"/>
                  <a:pt x="0" y="254"/>
                </a:cubicBezTo>
                <a:cubicBezTo>
                  <a:pt x="0" y="260"/>
                  <a:pt x="5" y="265"/>
                  <a:pt x="11" y="265"/>
                </a:cubicBezTo>
                <a:cubicBezTo>
                  <a:pt x="89" y="265"/>
                  <a:pt x="89" y="265"/>
                  <a:pt x="89" y="265"/>
                </a:cubicBezTo>
                <a:cubicBezTo>
                  <a:pt x="89" y="270"/>
                  <a:pt x="89" y="270"/>
                  <a:pt x="89" y="270"/>
                </a:cubicBezTo>
                <a:cubicBezTo>
                  <a:pt x="89" y="276"/>
                  <a:pt x="94" y="280"/>
                  <a:pt x="100" y="280"/>
                </a:cubicBezTo>
                <a:cubicBezTo>
                  <a:pt x="209" y="280"/>
                  <a:pt x="209" y="280"/>
                  <a:pt x="209" y="280"/>
                </a:cubicBezTo>
                <a:cubicBezTo>
                  <a:pt x="215" y="280"/>
                  <a:pt x="220" y="276"/>
                  <a:pt x="220" y="270"/>
                </a:cubicBezTo>
                <a:cubicBezTo>
                  <a:pt x="220" y="265"/>
                  <a:pt x="220" y="265"/>
                  <a:pt x="220" y="265"/>
                </a:cubicBezTo>
                <a:cubicBezTo>
                  <a:pt x="297" y="265"/>
                  <a:pt x="297" y="265"/>
                  <a:pt x="297" y="265"/>
                </a:cubicBezTo>
                <a:cubicBezTo>
                  <a:pt x="303" y="265"/>
                  <a:pt x="308" y="260"/>
                  <a:pt x="308" y="254"/>
                </a:cubicBezTo>
                <a:cubicBezTo>
                  <a:pt x="308" y="44"/>
                  <a:pt x="308" y="44"/>
                  <a:pt x="308" y="44"/>
                </a:cubicBezTo>
                <a:cubicBezTo>
                  <a:pt x="308" y="38"/>
                  <a:pt x="303" y="33"/>
                  <a:pt x="297" y="33"/>
                </a:cubicBezTo>
                <a:close/>
                <a:moveTo>
                  <a:pt x="89" y="243"/>
                </a:moveTo>
                <a:cubicBezTo>
                  <a:pt x="89" y="243"/>
                  <a:pt x="89" y="243"/>
                  <a:pt x="89" y="243"/>
                </a:cubicBezTo>
                <a:cubicBezTo>
                  <a:pt x="22" y="243"/>
                  <a:pt x="22" y="243"/>
                  <a:pt x="22" y="243"/>
                </a:cubicBezTo>
                <a:cubicBezTo>
                  <a:pt x="22" y="54"/>
                  <a:pt x="22" y="54"/>
                  <a:pt x="22" y="54"/>
                </a:cubicBezTo>
                <a:cubicBezTo>
                  <a:pt x="89" y="54"/>
                  <a:pt x="89" y="54"/>
                  <a:pt x="89" y="54"/>
                </a:cubicBezTo>
                <a:cubicBezTo>
                  <a:pt x="89" y="243"/>
                  <a:pt x="89" y="243"/>
                  <a:pt x="89" y="243"/>
                </a:cubicBezTo>
                <a:close/>
                <a:moveTo>
                  <a:pt x="198" y="259"/>
                </a:moveTo>
                <a:cubicBezTo>
                  <a:pt x="198" y="259"/>
                  <a:pt x="198" y="259"/>
                  <a:pt x="198" y="259"/>
                </a:cubicBezTo>
                <a:cubicBezTo>
                  <a:pt x="111" y="259"/>
                  <a:pt x="111" y="259"/>
                  <a:pt x="111" y="259"/>
                </a:cubicBezTo>
                <a:cubicBezTo>
                  <a:pt x="111" y="22"/>
                  <a:pt x="111" y="22"/>
                  <a:pt x="111" y="22"/>
                </a:cubicBezTo>
                <a:cubicBezTo>
                  <a:pt x="198" y="22"/>
                  <a:pt x="198" y="22"/>
                  <a:pt x="198" y="22"/>
                </a:cubicBezTo>
                <a:cubicBezTo>
                  <a:pt x="198" y="259"/>
                  <a:pt x="198" y="259"/>
                  <a:pt x="198" y="259"/>
                </a:cubicBezTo>
                <a:close/>
                <a:moveTo>
                  <a:pt x="286" y="243"/>
                </a:moveTo>
                <a:cubicBezTo>
                  <a:pt x="286" y="243"/>
                  <a:pt x="286" y="243"/>
                  <a:pt x="286" y="243"/>
                </a:cubicBezTo>
                <a:cubicBezTo>
                  <a:pt x="220" y="243"/>
                  <a:pt x="220" y="243"/>
                  <a:pt x="220" y="243"/>
                </a:cubicBezTo>
                <a:cubicBezTo>
                  <a:pt x="220" y="54"/>
                  <a:pt x="220" y="54"/>
                  <a:pt x="220" y="54"/>
                </a:cubicBezTo>
                <a:cubicBezTo>
                  <a:pt x="286" y="54"/>
                  <a:pt x="286" y="54"/>
                  <a:pt x="286" y="54"/>
                </a:cubicBezTo>
                <a:cubicBezTo>
                  <a:pt x="286" y="243"/>
                  <a:pt x="286" y="243"/>
                  <a:pt x="286" y="243"/>
                </a:cubicBezTo>
                <a:close/>
                <a:moveTo>
                  <a:pt x="37" y="92"/>
                </a:moveTo>
                <a:cubicBezTo>
                  <a:pt x="37" y="92"/>
                  <a:pt x="37" y="92"/>
                  <a:pt x="37" y="92"/>
                </a:cubicBezTo>
                <a:cubicBezTo>
                  <a:pt x="74" y="92"/>
                  <a:pt x="74" y="92"/>
                  <a:pt x="74" y="92"/>
                </a:cubicBezTo>
                <a:cubicBezTo>
                  <a:pt x="78" y="92"/>
                  <a:pt x="81" y="89"/>
                  <a:pt x="81" y="85"/>
                </a:cubicBezTo>
                <a:cubicBezTo>
                  <a:pt x="81" y="82"/>
                  <a:pt x="78" y="79"/>
                  <a:pt x="74" y="79"/>
                </a:cubicBezTo>
                <a:cubicBezTo>
                  <a:pt x="37" y="79"/>
                  <a:pt x="37" y="79"/>
                  <a:pt x="37" y="79"/>
                </a:cubicBezTo>
                <a:cubicBezTo>
                  <a:pt x="33" y="79"/>
                  <a:pt x="30" y="82"/>
                  <a:pt x="30" y="85"/>
                </a:cubicBezTo>
                <a:cubicBezTo>
                  <a:pt x="30" y="89"/>
                  <a:pt x="33" y="92"/>
                  <a:pt x="37" y="92"/>
                </a:cubicBezTo>
                <a:close/>
                <a:moveTo>
                  <a:pt x="73" y="190"/>
                </a:moveTo>
                <a:cubicBezTo>
                  <a:pt x="73" y="190"/>
                  <a:pt x="73" y="190"/>
                  <a:pt x="73" y="190"/>
                </a:cubicBezTo>
                <a:cubicBezTo>
                  <a:pt x="68" y="186"/>
                  <a:pt x="62" y="183"/>
                  <a:pt x="56" y="183"/>
                </a:cubicBezTo>
                <a:cubicBezTo>
                  <a:pt x="49" y="183"/>
                  <a:pt x="43" y="186"/>
                  <a:pt x="38" y="190"/>
                </a:cubicBezTo>
                <a:cubicBezTo>
                  <a:pt x="38" y="190"/>
                  <a:pt x="38" y="190"/>
                  <a:pt x="38" y="190"/>
                </a:cubicBezTo>
                <a:cubicBezTo>
                  <a:pt x="34" y="194"/>
                  <a:pt x="31" y="200"/>
                  <a:pt x="31" y="207"/>
                </a:cubicBezTo>
                <a:cubicBezTo>
                  <a:pt x="31" y="213"/>
                  <a:pt x="34" y="219"/>
                  <a:pt x="38" y="224"/>
                </a:cubicBezTo>
                <a:cubicBezTo>
                  <a:pt x="38" y="224"/>
                  <a:pt x="38" y="224"/>
                  <a:pt x="38" y="224"/>
                </a:cubicBezTo>
                <a:cubicBezTo>
                  <a:pt x="43" y="228"/>
                  <a:pt x="49" y="231"/>
                  <a:pt x="56" y="231"/>
                </a:cubicBezTo>
                <a:cubicBezTo>
                  <a:pt x="62" y="231"/>
                  <a:pt x="68" y="228"/>
                  <a:pt x="73" y="224"/>
                </a:cubicBezTo>
                <a:cubicBezTo>
                  <a:pt x="77" y="220"/>
                  <a:pt x="80" y="214"/>
                  <a:pt x="80" y="207"/>
                </a:cubicBezTo>
                <a:cubicBezTo>
                  <a:pt x="80" y="201"/>
                  <a:pt x="77" y="195"/>
                  <a:pt x="73" y="190"/>
                </a:cubicBezTo>
                <a:cubicBezTo>
                  <a:pt x="73" y="190"/>
                  <a:pt x="73" y="190"/>
                  <a:pt x="73" y="190"/>
                </a:cubicBezTo>
                <a:close/>
                <a:moveTo>
                  <a:pt x="63" y="215"/>
                </a:moveTo>
                <a:cubicBezTo>
                  <a:pt x="63" y="215"/>
                  <a:pt x="63" y="215"/>
                  <a:pt x="63" y="215"/>
                </a:cubicBezTo>
                <a:cubicBezTo>
                  <a:pt x="61" y="217"/>
                  <a:pt x="59" y="218"/>
                  <a:pt x="56" y="218"/>
                </a:cubicBezTo>
                <a:cubicBezTo>
                  <a:pt x="52" y="218"/>
                  <a:pt x="50" y="217"/>
                  <a:pt x="48" y="215"/>
                </a:cubicBezTo>
                <a:cubicBezTo>
                  <a:pt x="47" y="215"/>
                  <a:pt x="47" y="215"/>
                  <a:pt x="47" y="215"/>
                </a:cubicBezTo>
                <a:cubicBezTo>
                  <a:pt x="45" y="213"/>
                  <a:pt x="44" y="210"/>
                  <a:pt x="44" y="207"/>
                </a:cubicBezTo>
                <a:cubicBezTo>
                  <a:pt x="44" y="204"/>
                  <a:pt x="46" y="201"/>
                  <a:pt x="48" y="199"/>
                </a:cubicBezTo>
                <a:cubicBezTo>
                  <a:pt x="48" y="199"/>
                  <a:pt x="48" y="199"/>
                  <a:pt x="48" y="199"/>
                </a:cubicBezTo>
                <a:cubicBezTo>
                  <a:pt x="50" y="197"/>
                  <a:pt x="52" y="196"/>
                  <a:pt x="56" y="196"/>
                </a:cubicBezTo>
                <a:cubicBezTo>
                  <a:pt x="59" y="196"/>
                  <a:pt x="61" y="197"/>
                  <a:pt x="63" y="199"/>
                </a:cubicBezTo>
                <a:cubicBezTo>
                  <a:pt x="64" y="199"/>
                  <a:pt x="64" y="199"/>
                  <a:pt x="64" y="199"/>
                </a:cubicBezTo>
                <a:cubicBezTo>
                  <a:pt x="66" y="201"/>
                  <a:pt x="67" y="204"/>
                  <a:pt x="67" y="207"/>
                </a:cubicBezTo>
                <a:cubicBezTo>
                  <a:pt x="67" y="210"/>
                  <a:pt x="65" y="213"/>
                  <a:pt x="63" y="215"/>
                </a:cubicBezTo>
                <a:close/>
                <a:moveTo>
                  <a:pt x="234" y="115"/>
                </a:moveTo>
                <a:cubicBezTo>
                  <a:pt x="234" y="115"/>
                  <a:pt x="234" y="115"/>
                  <a:pt x="234" y="115"/>
                </a:cubicBezTo>
                <a:cubicBezTo>
                  <a:pt x="272" y="115"/>
                  <a:pt x="272" y="115"/>
                  <a:pt x="272" y="115"/>
                </a:cubicBezTo>
                <a:cubicBezTo>
                  <a:pt x="275" y="115"/>
                  <a:pt x="278" y="113"/>
                  <a:pt x="278" y="109"/>
                </a:cubicBezTo>
                <a:cubicBezTo>
                  <a:pt x="278" y="105"/>
                  <a:pt x="275" y="103"/>
                  <a:pt x="272" y="103"/>
                </a:cubicBezTo>
                <a:cubicBezTo>
                  <a:pt x="234" y="103"/>
                  <a:pt x="234" y="103"/>
                  <a:pt x="234" y="103"/>
                </a:cubicBezTo>
                <a:cubicBezTo>
                  <a:pt x="230" y="103"/>
                  <a:pt x="228" y="105"/>
                  <a:pt x="228" y="109"/>
                </a:cubicBezTo>
                <a:cubicBezTo>
                  <a:pt x="228" y="113"/>
                  <a:pt x="230" y="115"/>
                  <a:pt x="234" y="115"/>
                </a:cubicBezTo>
                <a:close/>
                <a:moveTo>
                  <a:pt x="234" y="139"/>
                </a:moveTo>
                <a:cubicBezTo>
                  <a:pt x="234" y="139"/>
                  <a:pt x="234" y="139"/>
                  <a:pt x="234" y="139"/>
                </a:cubicBezTo>
                <a:cubicBezTo>
                  <a:pt x="272" y="139"/>
                  <a:pt x="272" y="139"/>
                  <a:pt x="272" y="139"/>
                </a:cubicBezTo>
                <a:cubicBezTo>
                  <a:pt x="275" y="139"/>
                  <a:pt x="278" y="136"/>
                  <a:pt x="278" y="133"/>
                </a:cubicBezTo>
                <a:cubicBezTo>
                  <a:pt x="278" y="129"/>
                  <a:pt x="275" y="126"/>
                  <a:pt x="272" y="126"/>
                </a:cubicBezTo>
                <a:cubicBezTo>
                  <a:pt x="234" y="126"/>
                  <a:pt x="234" y="126"/>
                  <a:pt x="234" y="126"/>
                </a:cubicBezTo>
                <a:cubicBezTo>
                  <a:pt x="230" y="126"/>
                  <a:pt x="228" y="129"/>
                  <a:pt x="228" y="133"/>
                </a:cubicBezTo>
                <a:cubicBezTo>
                  <a:pt x="228" y="136"/>
                  <a:pt x="230" y="139"/>
                  <a:pt x="234" y="139"/>
                </a:cubicBezTo>
                <a:close/>
                <a:moveTo>
                  <a:pt x="234" y="92"/>
                </a:moveTo>
                <a:cubicBezTo>
                  <a:pt x="234" y="92"/>
                  <a:pt x="234" y="92"/>
                  <a:pt x="234" y="92"/>
                </a:cubicBezTo>
                <a:cubicBezTo>
                  <a:pt x="272" y="92"/>
                  <a:pt x="272" y="92"/>
                  <a:pt x="272" y="92"/>
                </a:cubicBezTo>
                <a:cubicBezTo>
                  <a:pt x="275" y="92"/>
                  <a:pt x="278" y="89"/>
                  <a:pt x="278" y="85"/>
                </a:cubicBezTo>
                <a:cubicBezTo>
                  <a:pt x="278" y="82"/>
                  <a:pt x="275" y="79"/>
                  <a:pt x="272" y="79"/>
                </a:cubicBezTo>
                <a:cubicBezTo>
                  <a:pt x="234" y="79"/>
                  <a:pt x="234" y="79"/>
                  <a:pt x="234" y="79"/>
                </a:cubicBezTo>
                <a:cubicBezTo>
                  <a:pt x="230" y="79"/>
                  <a:pt x="228" y="82"/>
                  <a:pt x="228" y="85"/>
                </a:cubicBezTo>
                <a:cubicBezTo>
                  <a:pt x="228" y="89"/>
                  <a:pt x="230" y="92"/>
                  <a:pt x="234" y="92"/>
                </a:cubicBezTo>
                <a:close/>
                <a:moveTo>
                  <a:pt x="131" y="127"/>
                </a:moveTo>
                <a:cubicBezTo>
                  <a:pt x="131" y="127"/>
                  <a:pt x="131" y="127"/>
                  <a:pt x="131" y="127"/>
                </a:cubicBezTo>
                <a:cubicBezTo>
                  <a:pt x="178" y="127"/>
                  <a:pt x="178" y="127"/>
                  <a:pt x="178" y="127"/>
                </a:cubicBezTo>
                <a:cubicBezTo>
                  <a:pt x="181" y="127"/>
                  <a:pt x="184" y="124"/>
                  <a:pt x="184" y="120"/>
                </a:cubicBezTo>
                <a:cubicBezTo>
                  <a:pt x="184" y="117"/>
                  <a:pt x="181" y="114"/>
                  <a:pt x="178" y="114"/>
                </a:cubicBezTo>
                <a:cubicBezTo>
                  <a:pt x="131" y="114"/>
                  <a:pt x="131" y="114"/>
                  <a:pt x="131" y="114"/>
                </a:cubicBezTo>
                <a:cubicBezTo>
                  <a:pt x="127" y="114"/>
                  <a:pt x="125" y="117"/>
                  <a:pt x="125" y="120"/>
                </a:cubicBezTo>
                <a:cubicBezTo>
                  <a:pt x="125" y="124"/>
                  <a:pt x="127" y="127"/>
                  <a:pt x="131" y="127"/>
                </a:cubicBezTo>
                <a:close/>
                <a:moveTo>
                  <a:pt x="270" y="190"/>
                </a:moveTo>
                <a:cubicBezTo>
                  <a:pt x="270" y="190"/>
                  <a:pt x="270" y="190"/>
                  <a:pt x="270" y="190"/>
                </a:cubicBezTo>
                <a:cubicBezTo>
                  <a:pt x="266" y="186"/>
                  <a:pt x="260" y="183"/>
                  <a:pt x="253" y="183"/>
                </a:cubicBezTo>
                <a:cubicBezTo>
                  <a:pt x="246" y="183"/>
                  <a:pt x="240" y="186"/>
                  <a:pt x="236" y="190"/>
                </a:cubicBezTo>
                <a:cubicBezTo>
                  <a:pt x="236" y="190"/>
                  <a:pt x="236" y="190"/>
                  <a:pt x="236" y="190"/>
                </a:cubicBezTo>
                <a:cubicBezTo>
                  <a:pt x="236" y="190"/>
                  <a:pt x="236" y="190"/>
                  <a:pt x="236" y="190"/>
                </a:cubicBezTo>
                <a:cubicBezTo>
                  <a:pt x="232" y="194"/>
                  <a:pt x="229" y="200"/>
                  <a:pt x="229" y="207"/>
                </a:cubicBezTo>
                <a:cubicBezTo>
                  <a:pt x="229" y="213"/>
                  <a:pt x="231" y="219"/>
                  <a:pt x="236" y="224"/>
                </a:cubicBezTo>
                <a:cubicBezTo>
                  <a:pt x="236" y="224"/>
                  <a:pt x="236" y="224"/>
                  <a:pt x="236" y="224"/>
                </a:cubicBezTo>
                <a:cubicBezTo>
                  <a:pt x="240" y="228"/>
                  <a:pt x="246" y="231"/>
                  <a:pt x="253" y="231"/>
                </a:cubicBezTo>
                <a:cubicBezTo>
                  <a:pt x="260" y="231"/>
                  <a:pt x="266" y="228"/>
                  <a:pt x="270" y="224"/>
                </a:cubicBezTo>
                <a:cubicBezTo>
                  <a:pt x="274" y="220"/>
                  <a:pt x="277" y="214"/>
                  <a:pt x="277" y="207"/>
                </a:cubicBezTo>
                <a:cubicBezTo>
                  <a:pt x="277" y="201"/>
                  <a:pt x="275" y="195"/>
                  <a:pt x="270" y="190"/>
                </a:cubicBezTo>
                <a:cubicBezTo>
                  <a:pt x="270" y="190"/>
                  <a:pt x="270" y="190"/>
                  <a:pt x="270" y="190"/>
                </a:cubicBezTo>
                <a:close/>
                <a:moveTo>
                  <a:pt x="261" y="215"/>
                </a:moveTo>
                <a:cubicBezTo>
                  <a:pt x="261" y="215"/>
                  <a:pt x="261" y="215"/>
                  <a:pt x="261" y="215"/>
                </a:cubicBezTo>
                <a:cubicBezTo>
                  <a:pt x="259" y="217"/>
                  <a:pt x="256" y="218"/>
                  <a:pt x="253" y="218"/>
                </a:cubicBezTo>
                <a:cubicBezTo>
                  <a:pt x="250" y="218"/>
                  <a:pt x="247" y="217"/>
                  <a:pt x="245" y="215"/>
                </a:cubicBezTo>
                <a:cubicBezTo>
                  <a:pt x="245" y="215"/>
                  <a:pt x="245" y="215"/>
                  <a:pt x="245" y="215"/>
                </a:cubicBezTo>
                <a:cubicBezTo>
                  <a:pt x="243" y="213"/>
                  <a:pt x="242" y="210"/>
                  <a:pt x="242" y="207"/>
                </a:cubicBezTo>
                <a:cubicBezTo>
                  <a:pt x="242" y="204"/>
                  <a:pt x="243" y="201"/>
                  <a:pt x="245" y="199"/>
                </a:cubicBezTo>
                <a:cubicBezTo>
                  <a:pt x="245" y="199"/>
                  <a:pt x="245" y="199"/>
                  <a:pt x="245" y="199"/>
                </a:cubicBezTo>
                <a:cubicBezTo>
                  <a:pt x="247" y="197"/>
                  <a:pt x="250" y="196"/>
                  <a:pt x="253" y="196"/>
                </a:cubicBezTo>
                <a:cubicBezTo>
                  <a:pt x="256" y="196"/>
                  <a:pt x="259" y="197"/>
                  <a:pt x="261" y="199"/>
                </a:cubicBezTo>
                <a:cubicBezTo>
                  <a:pt x="261" y="199"/>
                  <a:pt x="261" y="199"/>
                  <a:pt x="261" y="199"/>
                </a:cubicBezTo>
                <a:cubicBezTo>
                  <a:pt x="263" y="201"/>
                  <a:pt x="264" y="204"/>
                  <a:pt x="264" y="207"/>
                </a:cubicBezTo>
                <a:cubicBezTo>
                  <a:pt x="264" y="210"/>
                  <a:pt x="263" y="213"/>
                  <a:pt x="261" y="215"/>
                </a:cubicBezTo>
                <a:close/>
                <a:moveTo>
                  <a:pt x="131" y="68"/>
                </a:moveTo>
                <a:cubicBezTo>
                  <a:pt x="131" y="68"/>
                  <a:pt x="131" y="68"/>
                  <a:pt x="131" y="68"/>
                </a:cubicBezTo>
                <a:cubicBezTo>
                  <a:pt x="178" y="68"/>
                  <a:pt x="178" y="68"/>
                  <a:pt x="178" y="68"/>
                </a:cubicBezTo>
                <a:cubicBezTo>
                  <a:pt x="181" y="68"/>
                  <a:pt x="184" y="66"/>
                  <a:pt x="184" y="62"/>
                </a:cubicBezTo>
                <a:cubicBezTo>
                  <a:pt x="184" y="58"/>
                  <a:pt x="181" y="56"/>
                  <a:pt x="178" y="56"/>
                </a:cubicBezTo>
                <a:cubicBezTo>
                  <a:pt x="131" y="56"/>
                  <a:pt x="131" y="56"/>
                  <a:pt x="131" y="56"/>
                </a:cubicBezTo>
                <a:cubicBezTo>
                  <a:pt x="127" y="56"/>
                  <a:pt x="125" y="58"/>
                  <a:pt x="125" y="62"/>
                </a:cubicBezTo>
                <a:cubicBezTo>
                  <a:pt x="125" y="66"/>
                  <a:pt x="127" y="68"/>
                  <a:pt x="131" y="68"/>
                </a:cubicBezTo>
                <a:close/>
                <a:moveTo>
                  <a:pt x="131" y="98"/>
                </a:moveTo>
                <a:cubicBezTo>
                  <a:pt x="131" y="98"/>
                  <a:pt x="131" y="98"/>
                  <a:pt x="131" y="98"/>
                </a:cubicBezTo>
                <a:cubicBezTo>
                  <a:pt x="178" y="98"/>
                  <a:pt x="178" y="98"/>
                  <a:pt x="178" y="98"/>
                </a:cubicBezTo>
                <a:cubicBezTo>
                  <a:pt x="181" y="98"/>
                  <a:pt x="184" y="95"/>
                  <a:pt x="184" y="91"/>
                </a:cubicBezTo>
                <a:cubicBezTo>
                  <a:pt x="184" y="88"/>
                  <a:pt x="181" y="85"/>
                  <a:pt x="178" y="85"/>
                </a:cubicBezTo>
                <a:cubicBezTo>
                  <a:pt x="131" y="85"/>
                  <a:pt x="131" y="85"/>
                  <a:pt x="131" y="85"/>
                </a:cubicBezTo>
                <a:cubicBezTo>
                  <a:pt x="127" y="85"/>
                  <a:pt x="125" y="88"/>
                  <a:pt x="125" y="91"/>
                </a:cubicBezTo>
                <a:cubicBezTo>
                  <a:pt x="125" y="95"/>
                  <a:pt x="127" y="98"/>
                  <a:pt x="131" y="98"/>
                </a:cubicBezTo>
                <a:close/>
                <a:moveTo>
                  <a:pt x="175" y="192"/>
                </a:moveTo>
                <a:cubicBezTo>
                  <a:pt x="175" y="192"/>
                  <a:pt x="175" y="192"/>
                  <a:pt x="175" y="192"/>
                </a:cubicBezTo>
                <a:cubicBezTo>
                  <a:pt x="174" y="192"/>
                  <a:pt x="174" y="192"/>
                  <a:pt x="174" y="192"/>
                </a:cubicBezTo>
                <a:cubicBezTo>
                  <a:pt x="169" y="187"/>
                  <a:pt x="162" y="183"/>
                  <a:pt x="154" y="183"/>
                </a:cubicBezTo>
                <a:cubicBezTo>
                  <a:pt x="147" y="183"/>
                  <a:pt x="140" y="186"/>
                  <a:pt x="135" y="191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29" y="197"/>
                  <a:pt x="126" y="204"/>
                  <a:pt x="126" y="212"/>
                </a:cubicBezTo>
                <a:cubicBezTo>
                  <a:pt x="126" y="219"/>
                  <a:pt x="129" y="226"/>
                  <a:pt x="134" y="232"/>
                </a:cubicBezTo>
                <a:cubicBezTo>
                  <a:pt x="139" y="237"/>
                  <a:pt x="147" y="240"/>
                  <a:pt x="154" y="240"/>
                </a:cubicBezTo>
                <a:cubicBezTo>
                  <a:pt x="162" y="240"/>
                  <a:pt x="169" y="237"/>
                  <a:pt x="174" y="232"/>
                </a:cubicBezTo>
                <a:cubicBezTo>
                  <a:pt x="174" y="232"/>
                  <a:pt x="174" y="232"/>
                  <a:pt x="174" y="232"/>
                </a:cubicBezTo>
                <a:cubicBezTo>
                  <a:pt x="179" y="226"/>
                  <a:pt x="182" y="219"/>
                  <a:pt x="182" y="212"/>
                </a:cubicBezTo>
                <a:cubicBezTo>
                  <a:pt x="182" y="204"/>
                  <a:pt x="179" y="197"/>
                  <a:pt x="175" y="192"/>
                </a:cubicBezTo>
                <a:close/>
                <a:moveTo>
                  <a:pt x="165" y="222"/>
                </a:moveTo>
                <a:cubicBezTo>
                  <a:pt x="165" y="222"/>
                  <a:pt x="165" y="222"/>
                  <a:pt x="165" y="222"/>
                </a:cubicBezTo>
                <a:cubicBezTo>
                  <a:pt x="162" y="225"/>
                  <a:pt x="159" y="227"/>
                  <a:pt x="154" y="227"/>
                </a:cubicBezTo>
                <a:cubicBezTo>
                  <a:pt x="150" y="227"/>
                  <a:pt x="146" y="225"/>
                  <a:pt x="144" y="222"/>
                </a:cubicBezTo>
                <a:cubicBezTo>
                  <a:pt x="143" y="222"/>
                  <a:pt x="143" y="222"/>
                  <a:pt x="143" y="222"/>
                </a:cubicBezTo>
                <a:cubicBezTo>
                  <a:pt x="144" y="222"/>
                  <a:pt x="144" y="222"/>
                  <a:pt x="144" y="222"/>
                </a:cubicBezTo>
                <a:cubicBezTo>
                  <a:pt x="141" y="220"/>
                  <a:pt x="139" y="216"/>
                  <a:pt x="139" y="212"/>
                </a:cubicBezTo>
                <a:cubicBezTo>
                  <a:pt x="139" y="207"/>
                  <a:pt x="141" y="204"/>
                  <a:pt x="144" y="201"/>
                </a:cubicBezTo>
                <a:cubicBezTo>
                  <a:pt x="144" y="201"/>
                  <a:pt x="144" y="201"/>
                  <a:pt x="144" y="201"/>
                </a:cubicBezTo>
                <a:cubicBezTo>
                  <a:pt x="147" y="198"/>
                  <a:pt x="150" y="196"/>
                  <a:pt x="154" y="196"/>
                </a:cubicBezTo>
                <a:cubicBezTo>
                  <a:pt x="159" y="196"/>
                  <a:pt x="162" y="198"/>
                  <a:pt x="165" y="201"/>
                </a:cubicBezTo>
                <a:cubicBezTo>
                  <a:pt x="165" y="201"/>
                  <a:pt x="165" y="201"/>
                  <a:pt x="165" y="201"/>
                </a:cubicBezTo>
                <a:cubicBezTo>
                  <a:pt x="168" y="204"/>
                  <a:pt x="169" y="208"/>
                  <a:pt x="169" y="212"/>
                </a:cubicBezTo>
                <a:cubicBezTo>
                  <a:pt x="169" y="216"/>
                  <a:pt x="168" y="220"/>
                  <a:pt x="165" y="2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82" name="AutoShape 44"/>
          <p:cNvSpPr>
            <a:spLocks noChangeArrowheads="1"/>
          </p:cNvSpPr>
          <p:nvPr/>
        </p:nvSpPr>
        <p:spPr bwMode="auto">
          <a:xfrm>
            <a:off x="1787278" y="2599341"/>
            <a:ext cx="869739" cy="65560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0" tIns="0" rIns="0" bIns="0" anchor="b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75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运营管理平台</a:t>
            </a:r>
          </a:p>
        </p:txBody>
      </p:sp>
      <p:sp>
        <p:nvSpPr>
          <p:cNvPr id="283" name="2108009735"/>
          <p:cNvSpPr>
            <a:spLocks noEditPoints="1"/>
          </p:cNvSpPr>
          <p:nvPr/>
        </p:nvSpPr>
        <p:spPr bwMode="auto">
          <a:xfrm>
            <a:off x="3099742" y="2633621"/>
            <a:ext cx="259170" cy="244493"/>
          </a:xfrm>
          <a:custGeom>
            <a:avLst/>
            <a:gdLst>
              <a:gd name="T0" fmla="*/ 293 w 297"/>
              <a:gd name="T1" fmla="*/ 253 h 293"/>
              <a:gd name="T2" fmla="*/ 249 w 297"/>
              <a:gd name="T3" fmla="*/ 228 h 293"/>
              <a:gd name="T4" fmla="*/ 249 w 297"/>
              <a:gd name="T5" fmla="*/ 118 h 293"/>
              <a:gd name="T6" fmla="*/ 249 w 297"/>
              <a:gd name="T7" fmla="*/ 118 h 293"/>
              <a:gd name="T8" fmla="*/ 249 w 297"/>
              <a:gd name="T9" fmla="*/ 118 h 293"/>
              <a:gd name="T10" fmla="*/ 243 w 297"/>
              <a:gd name="T11" fmla="*/ 108 h 293"/>
              <a:gd name="T12" fmla="*/ 155 w 297"/>
              <a:gd name="T13" fmla="*/ 57 h 293"/>
              <a:gd name="T14" fmla="*/ 155 w 297"/>
              <a:gd name="T15" fmla="*/ 7 h 293"/>
              <a:gd name="T16" fmla="*/ 148 w 297"/>
              <a:gd name="T17" fmla="*/ 0 h 293"/>
              <a:gd name="T18" fmla="*/ 142 w 297"/>
              <a:gd name="T19" fmla="*/ 7 h 293"/>
              <a:gd name="T20" fmla="*/ 142 w 297"/>
              <a:gd name="T21" fmla="*/ 57 h 293"/>
              <a:gd name="T22" fmla="*/ 98 w 297"/>
              <a:gd name="T23" fmla="*/ 83 h 293"/>
              <a:gd name="T24" fmla="*/ 54 w 297"/>
              <a:gd name="T25" fmla="*/ 108 h 293"/>
              <a:gd name="T26" fmla="*/ 49 w 297"/>
              <a:gd name="T27" fmla="*/ 112 h 293"/>
              <a:gd name="T28" fmla="*/ 47 w 297"/>
              <a:gd name="T29" fmla="*/ 118 h 293"/>
              <a:gd name="T30" fmla="*/ 47 w 297"/>
              <a:gd name="T31" fmla="*/ 118 h 293"/>
              <a:gd name="T32" fmla="*/ 47 w 297"/>
              <a:gd name="T33" fmla="*/ 228 h 293"/>
              <a:gd name="T34" fmla="*/ 4 w 297"/>
              <a:gd name="T35" fmla="*/ 253 h 293"/>
              <a:gd name="T36" fmla="*/ 2 w 297"/>
              <a:gd name="T37" fmla="*/ 262 h 293"/>
              <a:gd name="T38" fmla="*/ 11 w 297"/>
              <a:gd name="T39" fmla="*/ 264 h 293"/>
              <a:gd name="T40" fmla="*/ 54 w 297"/>
              <a:gd name="T41" fmla="*/ 239 h 293"/>
              <a:gd name="T42" fmla="*/ 54 w 297"/>
              <a:gd name="T43" fmla="*/ 239 h 293"/>
              <a:gd name="T44" fmla="*/ 98 w 297"/>
              <a:gd name="T45" fmla="*/ 265 h 293"/>
              <a:gd name="T46" fmla="*/ 143 w 297"/>
              <a:gd name="T47" fmla="*/ 291 h 293"/>
              <a:gd name="T48" fmla="*/ 154 w 297"/>
              <a:gd name="T49" fmla="*/ 291 h 293"/>
              <a:gd name="T50" fmla="*/ 243 w 297"/>
              <a:gd name="T51" fmla="*/ 239 h 293"/>
              <a:gd name="T52" fmla="*/ 243 w 297"/>
              <a:gd name="T53" fmla="*/ 239 h 293"/>
              <a:gd name="T54" fmla="*/ 286 w 297"/>
              <a:gd name="T55" fmla="*/ 264 h 293"/>
              <a:gd name="T56" fmla="*/ 295 w 297"/>
              <a:gd name="T57" fmla="*/ 262 h 293"/>
              <a:gd name="T58" fmla="*/ 293 w 297"/>
              <a:gd name="T59" fmla="*/ 253 h 293"/>
              <a:gd name="T60" fmla="*/ 137 w 297"/>
              <a:gd name="T61" fmla="*/ 261 h 293"/>
              <a:gd name="T62" fmla="*/ 137 w 297"/>
              <a:gd name="T63" fmla="*/ 261 h 293"/>
              <a:gd name="T64" fmla="*/ 70 w 297"/>
              <a:gd name="T65" fmla="*/ 222 h 293"/>
              <a:gd name="T66" fmla="*/ 70 w 297"/>
              <a:gd name="T67" fmla="*/ 138 h 293"/>
              <a:gd name="T68" fmla="*/ 137 w 297"/>
              <a:gd name="T69" fmla="*/ 176 h 293"/>
              <a:gd name="T70" fmla="*/ 137 w 297"/>
              <a:gd name="T71" fmla="*/ 261 h 293"/>
              <a:gd name="T72" fmla="*/ 148 w 297"/>
              <a:gd name="T73" fmla="*/ 157 h 293"/>
              <a:gd name="T74" fmla="*/ 148 w 297"/>
              <a:gd name="T75" fmla="*/ 157 h 293"/>
              <a:gd name="T76" fmla="*/ 81 w 297"/>
              <a:gd name="T77" fmla="*/ 118 h 293"/>
              <a:gd name="T78" fmla="*/ 148 w 297"/>
              <a:gd name="T79" fmla="*/ 79 h 293"/>
              <a:gd name="T80" fmla="*/ 216 w 297"/>
              <a:gd name="T81" fmla="*/ 118 h 293"/>
              <a:gd name="T82" fmla="*/ 148 w 297"/>
              <a:gd name="T83" fmla="*/ 157 h 293"/>
              <a:gd name="T84" fmla="*/ 227 w 297"/>
              <a:gd name="T85" fmla="*/ 222 h 293"/>
              <a:gd name="T86" fmla="*/ 227 w 297"/>
              <a:gd name="T87" fmla="*/ 222 h 293"/>
              <a:gd name="T88" fmla="*/ 160 w 297"/>
              <a:gd name="T89" fmla="*/ 261 h 293"/>
              <a:gd name="T90" fmla="*/ 160 w 297"/>
              <a:gd name="T91" fmla="*/ 176 h 293"/>
              <a:gd name="T92" fmla="*/ 227 w 297"/>
              <a:gd name="T93" fmla="*/ 138 h 293"/>
              <a:gd name="T94" fmla="*/ 227 w 297"/>
              <a:gd name="T95" fmla="*/ 222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97" h="293">
                <a:moveTo>
                  <a:pt x="293" y="253"/>
                </a:moveTo>
                <a:cubicBezTo>
                  <a:pt x="249" y="228"/>
                  <a:pt x="249" y="228"/>
                  <a:pt x="249" y="228"/>
                </a:cubicBezTo>
                <a:cubicBezTo>
                  <a:pt x="249" y="118"/>
                  <a:pt x="249" y="118"/>
                  <a:pt x="249" y="118"/>
                </a:cubicBezTo>
                <a:cubicBezTo>
                  <a:pt x="249" y="118"/>
                  <a:pt x="249" y="118"/>
                  <a:pt x="249" y="118"/>
                </a:cubicBezTo>
                <a:cubicBezTo>
                  <a:pt x="249" y="118"/>
                  <a:pt x="249" y="118"/>
                  <a:pt x="249" y="118"/>
                </a:cubicBezTo>
                <a:cubicBezTo>
                  <a:pt x="249" y="114"/>
                  <a:pt x="247" y="110"/>
                  <a:pt x="243" y="108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5" y="7"/>
                  <a:pt x="155" y="7"/>
                  <a:pt x="155" y="7"/>
                </a:cubicBezTo>
                <a:cubicBezTo>
                  <a:pt x="155" y="4"/>
                  <a:pt x="152" y="0"/>
                  <a:pt x="148" y="0"/>
                </a:cubicBezTo>
                <a:cubicBezTo>
                  <a:pt x="145" y="0"/>
                  <a:pt x="142" y="4"/>
                  <a:pt x="142" y="7"/>
                </a:cubicBezTo>
                <a:cubicBezTo>
                  <a:pt x="142" y="57"/>
                  <a:pt x="142" y="57"/>
                  <a:pt x="142" y="57"/>
                </a:cubicBezTo>
                <a:cubicBezTo>
                  <a:pt x="98" y="83"/>
                  <a:pt x="98" y="83"/>
                  <a:pt x="98" y="83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2" y="109"/>
                  <a:pt x="50" y="110"/>
                  <a:pt x="49" y="112"/>
                </a:cubicBezTo>
                <a:cubicBezTo>
                  <a:pt x="48" y="114"/>
                  <a:pt x="47" y="116"/>
                  <a:pt x="47" y="118"/>
                </a:cubicBezTo>
                <a:cubicBezTo>
                  <a:pt x="47" y="118"/>
                  <a:pt x="47" y="118"/>
                  <a:pt x="47" y="118"/>
                </a:cubicBezTo>
                <a:cubicBezTo>
                  <a:pt x="47" y="228"/>
                  <a:pt x="47" y="228"/>
                  <a:pt x="47" y="228"/>
                </a:cubicBezTo>
                <a:cubicBezTo>
                  <a:pt x="4" y="253"/>
                  <a:pt x="4" y="253"/>
                  <a:pt x="4" y="253"/>
                </a:cubicBezTo>
                <a:cubicBezTo>
                  <a:pt x="1" y="254"/>
                  <a:pt x="0" y="259"/>
                  <a:pt x="2" y="262"/>
                </a:cubicBezTo>
                <a:cubicBezTo>
                  <a:pt x="4" y="265"/>
                  <a:pt x="8" y="266"/>
                  <a:pt x="11" y="264"/>
                </a:cubicBezTo>
                <a:cubicBezTo>
                  <a:pt x="54" y="239"/>
                  <a:pt x="54" y="239"/>
                  <a:pt x="54" y="239"/>
                </a:cubicBezTo>
                <a:cubicBezTo>
                  <a:pt x="54" y="239"/>
                  <a:pt x="54" y="239"/>
                  <a:pt x="54" y="239"/>
                </a:cubicBezTo>
                <a:cubicBezTo>
                  <a:pt x="98" y="265"/>
                  <a:pt x="98" y="265"/>
                  <a:pt x="98" y="265"/>
                </a:cubicBezTo>
                <a:cubicBezTo>
                  <a:pt x="143" y="291"/>
                  <a:pt x="143" y="291"/>
                  <a:pt x="143" y="291"/>
                </a:cubicBezTo>
                <a:cubicBezTo>
                  <a:pt x="146" y="293"/>
                  <a:pt x="151" y="293"/>
                  <a:pt x="154" y="291"/>
                </a:cubicBezTo>
                <a:cubicBezTo>
                  <a:pt x="243" y="239"/>
                  <a:pt x="243" y="239"/>
                  <a:pt x="243" y="239"/>
                </a:cubicBezTo>
                <a:cubicBezTo>
                  <a:pt x="243" y="239"/>
                  <a:pt x="243" y="239"/>
                  <a:pt x="243" y="239"/>
                </a:cubicBezTo>
                <a:cubicBezTo>
                  <a:pt x="286" y="264"/>
                  <a:pt x="286" y="264"/>
                  <a:pt x="286" y="264"/>
                </a:cubicBezTo>
                <a:cubicBezTo>
                  <a:pt x="289" y="266"/>
                  <a:pt x="293" y="265"/>
                  <a:pt x="295" y="262"/>
                </a:cubicBezTo>
                <a:cubicBezTo>
                  <a:pt x="297" y="259"/>
                  <a:pt x="296" y="254"/>
                  <a:pt x="293" y="253"/>
                </a:cubicBezTo>
                <a:close/>
                <a:moveTo>
                  <a:pt x="137" y="261"/>
                </a:moveTo>
                <a:cubicBezTo>
                  <a:pt x="137" y="261"/>
                  <a:pt x="137" y="261"/>
                  <a:pt x="137" y="261"/>
                </a:cubicBezTo>
                <a:cubicBezTo>
                  <a:pt x="70" y="222"/>
                  <a:pt x="70" y="222"/>
                  <a:pt x="70" y="222"/>
                </a:cubicBezTo>
                <a:cubicBezTo>
                  <a:pt x="70" y="138"/>
                  <a:pt x="70" y="138"/>
                  <a:pt x="70" y="138"/>
                </a:cubicBezTo>
                <a:cubicBezTo>
                  <a:pt x="137" y="176"/>
                  <a:pt x="137" y="176"/>
                  <a:pt x="137" y="176"/>
                </a:cubicBezTo>
                <a:cubicBezTo>
                  <a:pt x="137" y="261"/>
                  <a:pt x="137" y="261"/>
                  <a:pt x="137" y="261"/>
                </a:cubicBezTo>
                <a:close/>
                <a:moveTo>
                  <a:pt x="148" y="157"/>
                </a:moveTo>
                <a:cubicBezTo>
                  <a:pt x="148" y="157"/>
                  <a:pt x="148" y="157"/>
                  <a:pt x="148" y="157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148" y="79"/>
                  <a:pt x="148" y="79"/>
                  <a:pt x="148" y="79"/>
                </a:cubicBezTo>
                <a:cubicBezTo>
                  <a:pt x="216" y="118"/>
                  <a:pt x="216" y="118"/>
                  <a:pt x="216" y="118"/>
                </a:cubicBezTo>
                <a:cubicBezTo>
                  <a:pt x="148" y="157"/>
                  <a:pt x="148" y="157"/>
                  <a:pt x="148" y="157"/>
                </a:cubicBezTo>
                <a:close/>
                <a:moveTo>
                  <a:pt x="227" y="222"/>
                </a:moveTo>
                <a:cubicBezTo>
                  <a:pt x="227" y="222"/>
                  <a:pt x="227" y="222"/>
                  <a:pt x="227" y="222"/>
                </a:cubicBezTo>
                <a:cubicBezTo>
                  <a:pt x="160" y="261"/>
                  <a:pt x="160" y="261"/>
                  <a:pt x="160" y="261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227" y="138"/>
                  <a:pt x="227" y="138"/>
                  <a:pt x="227" y="138"/>
                </a:cubicBezTo>
                <a:cubicBezTo>
                  <a:pt x="227" y="222"/>
                  <a:pt x="227" y="222"/>
                  <a:pt x="227" y="2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84" name="1930267048"/>
          <p:cNvSpPr txBox="1"/>
          <p:nvPr/>
        </p:nvSpPr>
        <p:spPr>
          <a:xfrm>
            <a:off x="407061" y="2496836"/>
            <a:ext cx="373117" cy="824439"/>
          </a:xfrm>
          <a:prstGeom prst="rect">
            <a:avLst/>
          </a:prstGeom>
          <a:noFill/>
        </p:spPr>
        <p:txBody>
          <a:bodyPr vert="vert270" wrap="square" rtlCol="0" anchor="ctr">
            <a:noAutofit/>
          </a:bodyPr>
          <a:lstStyle/>
          <a:p>
            <a:pPr algn="ctr" fontAlgn="ctr"/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 </a:t>
            </a: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平台</a:t>
            </a:r>
          </a:p>
        </p:txBody>
      </p:sp>
      <p:sp>
        <p:nvSpPr>
          <p:cNvPr id="285" name="1471928619"/>
          <p:cNvSpPr>
            <a:spLocks noEditPoints="1"/>
          </p:cNvSpPr>
          <p:nvPr/>
        </p:nvSpPr>
        <p:spPr bwMode="auto">
          <a:xfrm>
            <a:off x="2063106" y="2669382"/>
            <a:ext cx="299124" cy="208733"/>
          </a:xfrm>
          <a:custGeom>
            <a:avLst/>
            <a:gdLst>
              <a:gd name="T0" fmla="*/ 125 w 549"/>
              <a:gd name="T1" fmla="*/ 99 h 450"/>
              <a:gd name="T2" fmla="*/ 54 w 549"/>
              <a:gd name="T3" fmla="*/ 262 h 450"/>
              <a:gd name="T4" fmla="*/ 7 w 549"/>
              <a:gd name="T5" fmla="*/ 320 h 450"/>
              <a:gd name="T6" fmla="*/ 6 w 549"/>
              <a:gd name="T7" fmla="*/ 411 h 450"/>
              <a:gd name="T8" fmla="*/ 52 w 549"/>
              <a:gd name="T9" fmla="*/ 424 h 450"/>
              <a:gd name="T10" fmla="*/ 70 w 549"/>
              <a:gd name="T11" fmla="*/ 450 h 450"/>
              <a:gd name="T12" fmla="*/ 497 w 549"/>
              <a:gd name="T13" fmla="*/ 432 h 450"/>
              <a:gd name="T14" fmla="*/ 521 w 549"/>
              <a:gd name="T15" fmla="*/ 424 h 450"/>
              <a:gd name="T16" fmla="*/ 549 w 549"/>
              <a:gd name="T17" fmla="*/ 361 h 450"/>
              <a:gd name="T18" fmla="*/ 517 w 549"/>
              <a:gd name="T19" fmla="*/ 286 h 450"/>
              <a:gd name="T20" fmla="*/ 492 w 549"/>
              <a:gd name="T21" fmla="*/ 127 h 450"/>
              <a:gd name="T22" fmla="*/ 274 w 549"/>
              <a:gd name="T23" fmla="*/ 0 h 450"/>
              <a:gd name="T24" fmla="*/ 219 w 549"/>
              <a:gd name="T25" fmla="*/ 398 h 450"/>
              <a:gd name="T26" fmla="*/ 219 w 549"/>
              <a:gd name="T27" fmla="*/ 333 h 450"/>
              <a:gd name="T28" fmla="*/ 198 w 549"/>
              <a:gd name="T29" fmla="*/ 380 h 450"/>
              <a:gd name="T30" fmla="*/ 151 w 549"/>
              <a:gd name="T31" fmla="*/ 338 h 450"/>
              <a:gd name="T32" fmla="*/ 158 w 549"/>
              <a:gd name="T33" fmla="*/ 300 h 450"/>
              <a:gd name="T34" fmla="*/ 169 w 549"/>
              <a:gd name="T35" fmla="*/ 281 h 450"/>
              <a:gd name="T36" fmla="*/ 170 w 549"/>
              <a:gd name="T37" fmla="*/ 280 h 450"/>
              <a:gd name="T38" fmla="*/ 218 w 549"/>
              <a:gd name="T39" fmla="*/ 231 h 450"/>
              <a:gd name="T40" fmla="*/ 369 w 549"/>
              <a:gd name="T41" fmla="*/ 269 h 450"/>
              <a:gd name="T42" fmla="*/ 378 w 549"/>
              <a:gd name="T43" fmla="*/ 280 h 450"/>
              <a:gd name="T44" fmla="*/ 379 w 549"/>
              <a:gd name="T45" fmla="*/ 281 h 450"/>
              <a:gd name="T46" fmla="*/ 390 w 549"/>
              <a:gd name="T47" fmla="*/ 300 h 450"/>
              <a:gd name="T48" fmla="*/ 397 w 549"/>
              <a:gd name="T49" fmla="*/ 376 h 450"/>
              <a:gd name="T50" fmla="*/ 351 w 549"/>
              <a:gd name="T51" fmla="*/ 333 h 450"/>
              <a:gd name="T52" fmla="*/ 329 w 549"/>
              <a:gd name="T53" fmla="*/ 396 h 450"/>
              <a:gd name="T54" fmla="*/ 329 w 549"/>
              <a:gd name="T55" fmla="*/ 414 h 450"/>
              <a:gd name="T56" fmla="*/ 188 w 549"/>
              <a:gd name="T57" fmla="*/ 122 h 450"/>
              <a:gd name="T58" fmla="*/ 188 w 549"/>
              <a:gd name="T59" fmla="*/ 122 h 450"/>
              <a:gd name="T60" fmla="*/ 409 w 549"/>
              <a:gd name="T61" fmla="*/ 414 h 450"/>
              <a:gd name="T62" fmla="*/ 433 w 549"/>
              <a:gd name="T63" fmla="*/ 338 h 450"/>
              <a:gd name="T64" fmla="*/ 492 w 549"/>
              <a:gd name="T65" fmla="*/ 311 h 450"/>
              <a:gd name="T66" fmla="*/ 508 w 549"/>
              <a:gd name="T67" fmla="*/ 334 h 450"/>
              <a:gd name="T68" fmla="*/ 482 w 549"/>
              <a:gd name="T69" fmla="*/ 388 h 450"/>
              <a:gd name="T70" fmla="*/ 461 w 549"/>
              <a:gd name="T71" fmla="*/ 357 h 450"/>
              <a:gd name="T72" fmla="*/ 395 w 549"/>
              <a:gd name="T73" fmla="*/ 142 h 450"/>
              <a:gd name="T74" fmla="*/ 467 w 549"/>
              <a:gd name="T75" fmla="*/ 153 h 450"/>
              <a:gd name="T76" fmla="*/ 467 w 549"/>
              <a:gd name="T77" fmla="*/ 240 h 450"/>
              <a:gd name="T78" fmla="*/ 411 w 549"/>
              <a:gd name="T79" fmla="*/ 256 h 450"/>
              <a:gd name="T80" fmla="*/ 394 w 549"/>
              <a:gd name="T81" fmla="*/ 244 h 450"/>
              <a:gd name="T82" fmla="*/ 360 w 549"/>
              <a:gd name="T83" fmla="*/ 209 h 450"/>
              <a:gd name="T84" fmla="*/ 393 w 549"/>
              <a:gd name="T85" fmla="*/ 151 h 450"/>
              <a:gd name="T86" fmla="*/ 393 w 549"/>
              <a:gd name="T87" fmla="*/ 150 h 450"/>
              <a:gd name="T88" fmla="*/ 394 w 549"/>
              <a:gd name="T89" fmla="*/ 144 h 450"/>
              <a:gd name="T90" fmla="*/ 395 w 549"/>
              <a:gd name="T91" fmla="*/ 142 h 450"/>
              <a:gd name="T92" fmla="*/ 87 w 549"/>
              <a:gd name="T93" fmla="*/ 357 h 450"/>
              <a:gd name="T94" fmla="*/ 66 w 549"/>
              <a:gd name="T95" fmla="*/ 388 h 450"/>
              <a:gd name="T96" fmla="*/ 40 w 549"/>
              <a:gd name="T97" fmla="*/ 334 h 450"/>
              <a:gd name="T98" fmla="*/ 56 w 549"/>
              <a:gd name="T99" fmla="*/ 311 h 450"/>
              <a:gd name="T100" fmla="*/ 115 w 549"/>
              <a:gd name="T101" fmla="*/ 338 h 450"/>
              <a:gd name="T102" fmla="*/ 139 w 549"/>
              <a:gd name="T103" fmla="*/ 414 h 450"/>
              <a:gd name="T104" fmla="*/ 154 w 549"/>
              <a:gd name="T105" fmla="*/ 142 h 450"/>
              <a:gd name="T106" fmla="*/ 154 w 549"/>
              <a:gd name="T107" fmla="*/ 144 h 450"/>
              <a:gd name="T108" fmla="*/ 155 w 549"/>
              <a:gd name="T109" fmla="*/ 150 h 450"/>
              <a:gd name="T110" fmla="*/ 155 w 549"/>
              <a:gd name="T111" fmla="*/ 151 h 450"/>
              <a:gd name="T112" fmla="*/ 189 w 549"/>
              <a:gd name="T113" fmla="*/ 209 h 450"/>
              <a:gd name="T114" fmla="*/ 137 w 549"/>
              <a:gd name="T115" fmla="*/ 256 h 450"/>
              <a:gd name="T116" fmla="*/ 81 w 549"/>
              <a:gd name="T117" fmla="*/ 240 h 450"/>
              <a:gd name="T118" fmla="*/ 81 w 549"/>
              <a:gd name="T119" fmla="*/ 153 h 450"/>
              <a:gd name="T120" fmla="*/ 154 w 549"/>
              <a:gd name="T121" fmla="*/ 142 h 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" h="450">
                <a:moveTo>
                  <a:pt x="274" y="0"/>
                </a:moveTo>
                <a:cubicBezTo>
                  <a:pt x="214" y="0"/>
                  <a:pt x="163" y="44"/>
                  <a:pt x="153" y="103"/>
                </a:cubicBezTo>
                <a:cubicBezTo>
                  <a:pt x="144" y="101"/>
                  <a:pt x="135" y="99"/>
                  <a:pt x="125" y="99"/>
                </a:cubicBezTo>
                <a:cubicBezTo>
                  <a:pt x="98" y="99"/>
                  <a:pt x="74" y="110"/>
                  <a:pt x="56" y="127"/>
                </a:cubicBezTo>
                <a:cubicBezTo>
                  <a:pt x="38" y="145"/>
                  <a:pt x="28" y="169"/>
                  <a:pt x="28" y="196"/>
                </a:cubicBezTo>
                <a:cubicBezTo>
                  <a:pt x="28" y="222"/>
                  <a:pt x="38" y="245"/>
                  <a:pt x="54" y="262"/>
                </a:cubicBezTo>
                <a:cubicBezTo>
                  <a:pt x="31" y="286"/>
                  <a:pt x="31" y="286"/>
                  <a:pt x="31" y="286"/>
                </a:cubicBezTo>
                <a:cubicBezTo>
                  <a:pt x="20" y="296"/>
                  <a:pt x="13" y="307"/>
                  <a:pt x="7" y="320"/>
                </a:cubicBezTo>
                <a:cubicBezTo>
                  <a:pt x="7" y="320"/>
                  <a:pt x="7" y="320"/>
                  <a:pt x="7" y="320"/>
                </a:cubicBezTo>
                <a:cubicBezTo>
                  <a:pt x="2" y="333"/>
                  <a:pt x="0" y="346"/>
                  <a:pt x="0" y="361"/>
                </a:cubicBezTo>
                <a:cubicBezTo>
                  <a:pt x="0" y="389"/>
                  <a:pt x="0" y="389"/>
                  <a:pt x="0" y="389"/>
                </a:cubicBezTo>
                <a:cubicBezTo>
                  <a:pt x="0" y="397"/>
                  <a:pt x="2" y="405"/>
                  <a:pt x="6" y="411"/>
                </a:cubicBezTo>
                <a:cubicBezTo>
                  <a:pt x="11" y="418"/>
                  <a:pt x="18" y="423"/>
                  <a:pt x="27" y="424"/>
                </a:cubicBezTo>
                <a:cubicBezTo>
                  <a:pt x="28" y="424"/>
                  <a:pt x="29" y="424"/>
                  <a:pt x="29" y="424"/>
                </a:cubicBezTo>
                <a:cubicBezTo>
                  <a:pt x="52" y="424"/>
                  <a:pt x="52" y="424"/>
                  <a:pt x="52" y="424"/>
                </a:cubicBezTo>
                <a:cubicBezTo>
                  <a:pt x="52" y="432"/>
                  <a:pt x="52" y="432"/>
                  <a:pt x="52" y="432"/>
                </a:cubicBezTo>
                <a:cubicBezTo>
                  <a:pt x="52" y="442"/>
                  <a:pt x="60" y="450"/>
                  <a:pt x="69" y="450"/>
                </a:cubicBezTo>
                <a:cubicBezTo>
                  <a:pt x="70" y="450"/>
                  <a:pt x="70" y="450"/>
                  <a:pt x="70" y="450"/>
                </a:cubicBezTo>
                <a:cubicBezTo>
                  <a:pt x="478" y="450"/>
                  <a:pt x="478" y="450"/>
                  <a:pt x="478" y="450"/>
                </a:cubicBezTo>
                <a:cubicBezTo>
                  <a:pt x="479" y="450"/>
                  <a:pt x="479" y="450"/>
                  <a:pt x="479" y="450"/>
                </a:cubicBezTo>
                <a:cubicBezTo>
                  <a:pt x="489" y="450"/>
                  <a:pt x="497" y="442"/>
                  <a:pt x="497" y="432"/>
                </a:cubicBezTo>
                <a:cubicBezTo>
                  <a:pt x="497" y="424"/>
                  <a:pt x="497" y="424"/>
                  <a:pt x="497" y="424"/>
                </a:cubicBezTo>
                <a:cubicBezTo>
                  <a:pt x="519" y="424"/>
                  <a:pt x="519" y="424"/>
                  <a:pt x="519" y="424"/>
                </a:cubicBezTo>
                <a:cubicBezTo>
                  <a:pt x="519" y="424"/>
                  <a:pt x="520" y="424"/>
                  <a:pt x="521" y="424"/>
                </a:cubicBezTo>
                <a:cubicBezTo>
                  <a:pt x="530" y="423"/>
                  <a:pt x="537" y="418"/>
                  <a:pt x="542" y="411"/>
                </a:cubicBezTo>
                <a:cubicBezTo>
                  <a:pt x="546" y="405"/>
                  <a:pt x="549" y="397"/>
                  <a:pt x="549" y="389"/>
                </a:cubicBezTo>
                <a:cubicBezTo>
                  <a:pt x="549" y="361"/>
                  <a:pt x="549" y="361"/>
                  <a:pt x="549" y="361"/>
                </a:cubicBezTo>
                <a:cubicBezTo>
                  <a:pt x="549" y="346"/>
                  <a:pt x="546" y="333"/>
                  <a:pt x="541" y="320"/>
                </a:cubicBezTo>
                <a:cubicBezTo>
                  <a:pt x="541" y="320"/>
                  <a:pt x="541" y="320"/>
                  <a:pt x="541" y="320"/>
                </a:cubicBezTo>
                <a:cubicBezTo>
                  <a:pt x="535" y="307"/>
                  <a:pt x="528" y="296"/>
                  <a:pt x="517" y="286"/>
                </a:cubicBezTo>
                <a:cubicBezTo>
                  <a:pt x="494" y="262"/>
                  <a:pt x="494" y="262"/>
                  <a:pt x="494" y="262"/>
                </a:cubicBezTo>
                <a:cubicBezTo>
                  <a:pt x="511" y="245"/>
                  <a:pt x="521" y="222"/>
                  <a:pt x="521" y="196"/>
                </a:cubicBezTo>
                <a:cubicBezTo>
                  <a:pt x="521" y="169"/>
                  <a:pt x="510" y="145"/>
                  <a:pt x="492" y="127"/>
                </a:cubicBezTo>
                <a:cubicBezTo>
                  <a:pt x="475" y="110"/>
                  <a:pt x="450" y="99"/>
                  <a:pt x="423" y="99"/>
                </a:cubicBezTo>
                <a:cubicBezTo>
                  <a:pt x="413" y="99"/>
                  <a:pt x="404" y="101"/>
                  <a:pt x="395" y="103"/>
                </a:cubicBezTo>
                <a:cubicBezTo>
                  <a:pt x="385" y="44"/>
                  <a:pt x="334" y="0"/>
                  <a:pt x="274" y="0"/>
                </a:cubicBezTo>
                <a:close/>
                <a:moveTo>
                  <a:pt x="219" y="414"/>
                </a:moveTo>
                <a:cubicBezTo>
                  <a:pt x="219" y="414"/>
                  <a:pt x="219" y="414"/>
                  <a:pt x="219" y="414"/>
                </a:cubicBezTo>
                <a:cubicBezTo>
                  <a:pt x="219" y="398"/>
                  <a:pt x="219" y="398"/>
                  <a:pt x="219" y="398"/>
                </a:cubicBezTo>
                <a:cubicBezTo>
                  <a:pt x="219" y="398"/>
                  <a:pt x="219" y="398"/>
                  <a:pt x="219" y="398"/>
                </a:cubicBezTo>
                <a:cubicBezTo>
                  <a:pt x="219" y="396"/>
                  <a:pt x="219" y="396"/>
                  <a:pt x="219" y="396"/>
                </a:cubicBezTo>
                <a:cubicBezTo>
                  <a:pt x="219" y="333"/>
                  <a:pt x="219" y="333"/>
                  <a:pt x="219" y="333"/>
                </a:cubicBezTo>
                <a:cubicBezTo>
                  <a:pt x="219" y="327"/>
                  <a:pt x="214" y="323"/>
                  <a:pt x="208" y="323"/>
                </a:cubicBezTo>
                <a:cubicBezTo>
                  <a:pt x="202" y="323"/>
                  <a:pt x="198" y="327"/>
                  <a:pt x="198" y="333"/>
                </a:cubicBezTo>
                <a:cubicBezTo>
                  <a:pt x="198" y="380"/>
                  <a:pt x="198" y="380"/>
                  <a:pt x="198" y="380"/>
                </a:cubicBezTo>
                <a:cubicBezTo>
                  <a:pt x="152" y="380"/>
                  <a:pt x="152" y="380"/>
                  <a:pt x="152" y="380"/>
                </a:cubicBezTo>
                <a:cubicBezTo>
                  <a:pt x="151" y="379"/>
                  <a:pt x="151" y="378"/>
                  <a:pt x="151" y="376"/>
                </a:cubicBezTo>
                <a:cubicBezTo>
                  <a:pt x="151" y="338"/>
                  <a:pt x="151" y="338"/>
                  <a:pt x="151" y="338"/>
                </a:cubicBezTo>
                <a:cubicBezTo>
                  <a:pt x="151" y="325"/>
                  <a:pt x="153" y="312"/>
                  <a:pt x="158" y="301"/>
                </a:cubicBezTo>
                <a:cubicBezTo>
                  <a:pt x="158" y="300"/>
                  <a:pt x="158" y="300"/>
                  <a:pt x="158" y="300"/>
                </a:cubicBezTo>
                <a:cubicBezTo>
                  <a:pt x="158" y="300"/>
                  <a:pt x="158" y="300"/>
                  <a:pt x="158" y="300"/>
                </a:cubicBezTo>
                <a:cubicBezTo>
                  <a:pt x="161" y="294"/>
                  <a:pt x="165" y="287"/>
                  <a:pt x="169" y="281"/>
                </a:cubicBezTo>
                <a:cubicBezTo>
                  <a:pt x="169" y="281"/>
                  <a:pt x="169" y="281"/>
                  <a:pt x="169" y="281"/>
                </a:cubicBezTo>
                <a:cubicBezTo>
                  <a:pt x="169" y="281"/>
                  <a:pt x="169" y="281"/>
                  <a:pt x="169" y="281"/>
                </a:cubicBezTo>
                <a:cubicBezTo>
                  <a:pt x="170" y="280"/>
                  <a:pt x="170" y="280"/>
                  <a:pt x="170" y="280"/>
                </a:cubicBezTo>
                <a:cubicBezTo>
                  <a:pt x="170" y="280"/>
                  <a:pt x="170" y="280"/>
                  <a:pt x="170" y="280"/>
                </a:cubicBezTo>
                <a:cubicBezTo>
                  <a:pt x="170" y="280"/>
                  <a:pt x="170" y="280"/>
                  <a:pt x="170" y="280"/>
                </a:cubicBezTo>
                <a:cubicBezTo>
                  <a:pt x="170" y="280"/>
                  <a:pt x="170" y="280"/>
                  <a:pt x="170" y="280"/>
                </a:cubicBezTo>
                <a:cubicBezTo>
                  <a:pt x="173" y="276"/>
                  <a:pt x="176" y="272"/>
                  <a:pt x="180" y="269"/>
                </a:cubicBezTo>
                <a:cubicBezTo>
                  <a:pt x="218" y="231"/>
                  <a:pt x="218" y="231"/>
                  <a:pt x="218" y="231"/>
                </a:cubicBezTo>
                <a:cubicBezTo>
                  <a:pt x="253" y="249"/>
                  <a:pt x="295" y="249"/>
                  <a:pt x="330" y="231"/>
                </a:cubicBezTo>
                <a:cubicBezTo>
                  <a:pt x="368" y="269"/>
                  <a:pt x="368" y="269"/>
                  <a:pt x="368" y="269"/>
                </a:cubicBezTo>
                <a:cubicBezTo>
                  <a:pt x="369" y="269"/>
                  <a:pt x="369" y="269"/>
                  <a:pt x="369" y="269"/>
                </a:cubicBezTo>
                <a:cubicBezTo>
                  <a:pt x="368" y="269"/>
                  <a:pt x="368" y="269"/>
                  <a:pt x="368" y="269"/>
                </a:cubicBezTo>
                <a:cubicBezTo>
                  <a:pt x="372" y="272"/>
                  <a:pt x="375" y="276"/>
                  <a:pt x="378" y="280"/>
                </a:cubicBezTo>
                <a:cubicBezTo>
                  <a:pt x="378" y="280"/>
                  <a:pt x="378" y="280"/>
                  <a:pt x="378" y="280"/>
                </a:cubicBezTo>
                <a:cubicBezTo>
                  <a:pt x="378" y="280"/>
                  <a:pt x="378" y="280"/>
                  <a:pt x="378" y="280"/>
                </a:cubicBezTo>
                <a:cubicBezTo>
                  <a:pt x="379" y="280"/>
                  <a:pt x="379" y="280"/>
                  <a:pt x="379" y="280"/>
                </a:cubicBezTo>
                <a:cubicBezTo>
                  <a:pt x="379" y="281"/>
                  <a:pt x="379" y="281"/>
                  <a:pt x="379" y="281"/>
                </a:cubicBezTo>
                <a:cubicBezTo>
                  <a:pt x="379" y="281"/>
                  <a:pt x="379" y="281"/>
                  <a:pt x="379" y="281"/>
                </a:cubicBezTo>
                <a:cubicBezTo>
                  <a:pt x="383" y="287"/>
                  <a:pt x="387" y="294"/>
                  <a:pt x="390" y="300"/>
                </a:cubicBezTo>
                <a:cubicBezTo>
                  <a:pt x="390" y="300"/>
                  <a:pt x="390" y="300"/>
                  <a:pt x="390" y="300"/>
                </a:cubicBezTo>
                <a:cubicBezTo>
                  <a:pt x="390" y="301"/>
                  <a:pt x="390" y="301"/>
                  <a:pt x="390" y="301"/>
                </a:cubicBezTo>
                <a:cubicBezTo>
                  <a:pt x="395" y="312"/>
                  <a:pt x="397" y="325"/>
                  <a:pt x="397" y="338"/>
                </a:cubicBezTo>
                <a:cubicBezTo>
                  <a:pt x="397" y="376"/>
                  <a:pt x="397" y="376"/>
                  <a:pt x="397" y="376"/>
                </a:cubicBezTo>
                <a:cubicBezTo>
                  <a:pt x="397" y="378"/>
                  <a:pt x="397" y="379"/>
                  <a:pt x="396" y="380"/>
                </a:cubicBezTo>
                <a:cubicBezTo>
                  <a:pt x="351" y="380"/>
                  <a:pt x="351" y="380"/>
                  <a:pt x="351" y="380"/>
                </a:cubicBezTo>
                <a:cubicBezTo>
                  <a:pt x="351" y="333"/>
                  <a:pt x="351" y="333"/>
                  <a:pt x="351" y="333"/>
                </a:cubicBezTo>
                <a:cubicBezTo>
                  <a:pt x="351" y="327"/>
                  <a:pt x="346" y="323"/>
                  <a:pt x="340" y="323"/>
                </a:cubicBezTo>
                <a:cubicBezTo>
                  <a:pt x="334" y="323"/>
                  <a:pt x="329" y="327"/>
                  <a:pt x="329" y="333"/>
                </a:cubicBezTo>
                <a:cubicBezTo>
                  <a:pt x="329" y="396"/>
                  <a:pt x="329" y="396"/>
                  <a:pt x="329" y="396"/>
                </a:cubicBezTo>
                <a:cubicBezTo>
                  <a:pt x="329" y="398"/>
                  <a:pt x="329" y="398"/>
                  <a:pt x="329" y="398"/>
                </a:cubicBezTo>
                <a:cubicBezTo>
                  <a:pt x="329" y="398"/>
                  <a:pt x="329" y="398"/>
                  <a:pt x="329" y="398"/>
                </a:cubicBezTo>
                <a:cubicBezTo>
                  <a:pt x="329" y="414"/>
                  <a:pt x="329" y="414"/>
                  <a:pt x="329" y="414"/>
                </a:cubicBezTo>
                <a:cubicBezTo>
                  <a:pt x="219" y="414"/>
                  <a:pt x="219" y="414"/>
                  <a:pt x="219" y="414"/>
                </a:cubicBezTo>
                <a:close/>
                <a:moveTo>
                  <a:pt x="188" y="122"/>
                </a:moveTo>
                <a:cubicBezTo>
                  <a:pt x="188" y="122"/>
                  <a:pt x="188" y="122"/>
                  <a:pt x="188" y="122"/>
                </a:cubicBezTo>
                <a:cubicBezTo>
                  <a:pt x="188" y="75"/>
                  <a:pt x="226" y="36"/>
                  <a:pt x="274" y="36"/>
                </a:cubicBezTo>
                <a:cubicBezTo>
                  <a:pt x="322" y="36"/>
                  <a:pt x="360" y="75"/>
                  <a:pt x="360" y="122"/>
                </a:cubicBezTo>
                <a:cubicBezTo>
                  <a:pt x="360" y="235"/>
                  <a:pt x="188" y="235"/>
                  <a:pt x="188" y="122"/>
                </a:cubicBezTo>
                <a:close/>
                <a:moveTo>
                  <a:pt x="461" y="414"/>
                </a:moveTo>
                <a:cubicBezTo>
                  <a:pt x="461" y="414"/>
                  <a:pt x="461" y="414"/>
                  <a:pt x="461" y="414"/>
                </a:cubicBezTo>
                <a:cubicBezTo>
                  <a:pt x="409" y="414"/>
                  <a:pt x="409" y="414"/>
                  <a:pt x="409" y="414"/>
                </a:cubicBezTo>
                <a:cubicBezTo>
                  <a:pt x="416" y="412"/>
                  <a:pt x="421" y="407"/>
                  <a:pt x="425" y="401"/>
                </a:cubicBezTo>
                <a:cubicBezTo>
                  <a:pt x="430" y="394"/>
                  <a:pt x="433" y="385"/>
                  <a:pt x="433" y="376"/>
                </a:cubicBezTo>
                <a:cubicBezTo>
                  <a:pt x="433" y="338"/>
                  <a:pt x="433" y="338"/>
                  <a:pt x="433" y="338"/>
                </a:cubicBezTo>
                <a:cubicBezTo>
                  <a:pt x="433" y="322"/>
                  <a:pt x="430" y="307"/>
                  <a:pt x="425" y="293"/>
                </a:cubicBezTo>
                <a:cubicBezTo>
                  <a:pt x="440" y="293"/>
                  <a:pt x="453" y="290"/>
                  <a:pt x="465" y="284"/>
                </a:cubicBezTo>
                <a:cubicBezTo>
                  <a:pt x="492" y="311"/>
                  <a:pt x="492" y="311"/>
                  <a:pt x="492" y="311"/>
                </a:cubicBezTo>
                <a:cubicBezTo>
                  <a:pt x="499" y="318"/>
                  <a:pt x="504" y="325"/>
                  <a:pt x="508" y="333"/>
                </a:cubicBezTo>
                <a:cubicBezTo>
                  <a:pt x="508" y="334"/>
                  <a:pt x="508" y="334"/>
                  <a:pt x="508" y="334"/>
                </a:cubicBezTo>
                <a:cubicBezTo>
                  <a:pt x="508" y="334"/>
                  <a:pt x="508" y="334"/>
                  <a:pt x="508" y="334"/>
                </a:cubicBezTo>
                <a:cubicBezTo>
                  <a:pt x="511" y="342"/>
                  <a:pt x="513" y="351"/>
                  <a:pt x="513" y="361"/>
                </a:cubicBezTo>
                <a:cubicBezTo>
                  <a:pt x="513" y="388"/>
                  <a:pt x="513" y="388"/>
                  <a:pt x="513" y="388"/>
                </a:cubicBezTo>
                <a:cubicBezTo>
                  <a:pt x="482" y="388"/>
                  <a:pt x="482" y="388"/>
                  <a:pt x="482" y="388"/>
                </a:cubicBezTo>
                <a:cubicBezTo>
                  <a:pt x="482" y="357"/>
                  <a:pt x="482" y="357"/>
                  <a:pt x="482" y="357"/>
                </a:cubicBezTo>
                <a:cubicBezTo>
                  <a:pt x="482" y="351"/>
                  <a:pt x="477" y="346"/>
                  <a:pt x="471" y="346"/>
                </a:cubicBezTo>
                <a:cubicBezTo>
                  <a:pt x="465" y="346"/>
                  <a:pt x="461" y="351"/>
                  <a:pt x="461" y="357"/>
                </a:cubicBezTo>
                <a:cubicBezTo>
                  <a:pt x="461" y="414"/>
                  <a:pt x="461" y="414"/>
                  <a:pt x="461" y="414"/>
                </a:cubicBezTo>
                <a:close/>
                <a:moveTo>
                  <a:pt x="395" y="142"/>
                </a:moveTo>
                <a:cubicBezTo>
                  <a:pt x="395" y="142"/>
                  <a:pt x="395" y="142"/>
                  <a:pt x="395" y="142"/>
                </a:cubicBezTo>
                <a:cubicBezTo>
                  <a:pt x="398" y="140"/>
                  <a:pt x="401" y="138"/>
                  <a:pt x="405" y="137"/>
                </a:cubicBezTo>
                <a:cubicBezTo>
                  <a:pt x="411" y="136"/>
                  <a:pt x="417" y="135"/>
                  <a:pt x="423" y="135"/>
                </a:cubicBezTo>
                <a:cubicBezTo>
                  <a:pt x="440" y="135"/>
                  <a:pt x="456" y="141"/>
                  <a:pt x="467" y="153"/>
                </a:cubicBezTo>
                <a:cubicBezTo>
                  <a:pt x="478" y="164"/>
                  <a:pt x="485" y="179"/>
                  <a:pt x="485" y="196"/>
                </a:cubicBezTo>
                <a:cubicBezTo>
                  <a:pt x="485" y="213"/>
                  <a:pt x="478" y="229"/>
                  <a:pt x="467" y="240"/>
                </a:cubicBezTo>
                <a:cubicBezTo>
                  <a:pt x="467" y="240"/>
                  <a:pt x="467" y="240"/>
                  <a:pt x="467" y="240"/>
                </a:cubicBezTo>
                <a:cubicBezTo>
                  <a:pt x="456" y="251"/>
                  <a:pt x="440" y="258"/>
                  <a:pt x="423" y="258"/>
                </a:cubicBezTo>
                <a:cubicBezTo>
                  <a:pt x="419" y="258"/>
                  <a:pt x="415" y="257"/>
                  <a:pt x="411" y="257"/>
                </a:cubicBezTo>
                <a:cubicBezTo>
                  <a:pt x="411" y="256"/>
                  <a:pt x="411" y="256"/>
                  <a:pt x="411" y="256"/>
                </a:cubicBezTo>
                <a:cubicBezTo>
                  <a:pt x="409" y="256"/>
                  <a:pt x="406" y="255"/>
                  <a:pt x="404" y="255"/>
                </a:cubicBezTo>
                <a:cubicBezTo>
                  <a:pt x="401" y="251"/>
                  <a:pt x="397" y="247"/>
                  <a:pt x="394" y="244"/>
                </a:cubicBezTo>
                <a:cubicBezTo>
                  <a:pt x="394" y="244"/>
                  <a:pt x="394" y="244"/>
                  <a:pt x="394" y="244"/>
                </a:cubicBezTo>
                <a:cubicBezTo>
                  <a:pt x="359" y="209"/>
                  <a:pt x="359" y="209"/>
                  <a:pt x="359" y="209"/>
                </a:cubicBezTo>
                <a:cubicBezTo>
                  <a:pt x="360" y="209"/>
                  <a:pt x="360" y="209"/>
                  <a:pt x="360" y="209"/>
                </a:cubicBezTo>
                <a:cubicBezTo>
                  <a:pt x="360" y="209"/>
                  <a:pt x="360" y="209"/>
                  <a:pt x="360" y="209"/>
                </a:cubicBezTo>
                <a:cubicBezTo>
                  <a:pt x="360" y="209"/>
                  <a:pt x="360" y="209"/>
                  <a:pt x="360" y="209"/>
                </a:cubicBezTo>
                <a:cubicBezTo>
                  <a:pt x="360" y="208"/>
                  <a:pt x="360" y="208"/>
                  <a:pt x="360" y="208"/>
                </a:cubicBezTo>
                <a:cubicBezTo>
                  <a:pt x="376" y="193"/>
                  <a:pt x="387" y="172"/>
                  <a:pt x="393" y="151"/>
                </a:cubicBezTo>
                <a:cubicBezTo>
                  <a:pt x="393" y="150"/>
                  <a:pt x="393" y="150"/>
                  <a:pt x="393" y="150"/>
                </a:cubicBezTo>
                <a:cubicBezTo>
                  <a:pt x="393" y="150"/>
                  <a:pt x="393" y="150"/>
                  <a:pt x="393" y="150"/>
                </a:cubicBezTo>
                <a:cubicBezTo>
                  <a:pt x="393" y="150"/>
                  <a:pt x="393" y="150"/>
                  <a:pt x="393" y="150"/>
                </a:cubicBezTo>
                <a:cubicBezTo>
                  <a:pt x="393" y="149"/>
                  <a:pt x="393" y="149"/>
                  <a:pt x="393" y="149"/>
                </a:cubicBezTo>
                <a:cubicBezTo>
                  <a:pt x="394" y="144"/>
                  <a:pt x="394" y="144"/>
                  <a:pt x="394" y="144"/>
                </a:cubicBezTo>
                <a:cubicBezTo>
                  <a:pt x="394" y="144"/>
                  <a:pt x="394" y="144"/>
                  <a:pt x="394" y="144"/>
                </a:cubicBezTo>
                <a:cubicBezTo>
                  <a:pt x="394" y="143"/>
                  <a:pt x="394" y="143"/>
                  <a:pt x="394" y="143"/>
                </a:cubicBezTo>
                <a:cubicBezTo>
                  <a:pt x="394" y="143"/>
                  <a:pt x="394" y="143"/>
                  <a:pt x="394" y="143"/>
                </a:cubicBezTo>
                <a:cubicBezTo>
                  <a:pt x="395" y="142"/>
                  <a:pt x="395" y="142"/>
                  <a:pt x="395" y="142"/>
                </a:cubicBezTo>
                <a:close/>
                <a:moveTo>
                  <a:pt x="87" y="414"/>
                </a:moveTo>
                <a:cubicBezTo>
                  <a:pt x="87" y="414"/>
                  <a:pt x="87" y="414"/>
                  <a:pt x="87" y="414"/>
                </a:cubicBezTo>
                <a:cubicBezTo>
                  <a:pt x="87" y="357"/>
                  <a:pt x="87" y="357"/>
                  <a:pt x="87" y="357"/>
                </a:cubicBezTo>
                <a:cubicBezTo>
                  <a:pt x="87" y="351"/>
                  <a:pt x="83" y="346"/>
                  <a:pt x="77" y="346"/>
                </a:cubicBezTo>
                <a:cubicBezTo>
                  <a:pt x="71" y="346"/>
                  <a:pt x="66" y="351"/>
                  <a:pt x="66" y="357"/>
                </a:cubicBezTo>
                <a:cubicBezTo>
                  <a:pt x="66" y="388"/>
                  <a:pt x="66" y="388"/>
                  <a:pt x="66" y="388"/>
                </a:cubicBezTo>
                <a:cubicBezTo>
                  <a:pt x="35" y="388"/>
                  <a:pt x="35" y="388"/>
                  <a:pt x="35" y="388"/>
                </a:cubicBezTo>
                <a:cubicBezTo>
                  <a:pt x="35" y="361"/>
                  <a:pt x="35" y="361"/>
                  <a:pt x="35" y="361"/>
                </a:cubicBezTo>
                <a:cubicBezTo>
                  <a:pt x="35" y="351"/>
                  <a:pt x="37" y="342"/>
                  <a:pt x="40" y="334"/>
                </a:cubicBezTo>
                <a:cubicBezTo>
                  <a:pt x="40" y="334"/>
                  <a:pt x="40" y="334"/>
                  <a:pt x="40" y="334"/>
                </a:cubicBezTo>
                <a:cubicBezTo>
                  <a:pt x="40" y="333"/>
                  <a:pt x="40" y="333"/>
                  <a:pt x="40" y="333"/>
                </a:cubicBezTo>
                <a:cubicBezTo>
                  <a:pt x="44" y="325"/>
                  <a:pt x="49" y="318"/>
                  <a:pt x="56" y="311"/>
                </a:cubicBezTo>
                <a:cubicBezTo>
                  <a:pt x="83" y="284"/>
                  <a:pt x="83" y="284"/>
                  <a:pt x="83" y="284"/>
                </a:cubicBezTo>
                <a:cubicBezTo>
                  <a:pt x="95" y="290"/>
                  <a:pt x="108" y="293"/>
                  <a:pt x="123" y="293"/>
                </a:cubicBezTo>
                <a:cubicBezTo>
                  <a:pt x="118" y="307"/>
                  <a:pt x="115" y="322"/>
                  <a:pt x="115" y="338"/>
                </a:cubicBezTo>
                <a:cubicBezTo>
                  <a:pt x="115" y="376"/>
                  <a:pt x="115" y="376"/>
                  <a:pt x="115" y="376"/>
                </a:cubicBezTo>
                <a:cubicBezTo>
                  <a:pt x="115" y="385"/>
                  <a:pt x="118" y="394"/>
                  <a:pt x="123" y="401"/>
                </a:cubicBezTo>
                <a:cubicBezTo>
                  <a:pt x="127" y="407"/>
                  <a:pt x="133" y="412"/>
                  <a:pt x="139" y="414"/>
                </a:cubicBezTo>
                <a:cubicBezTo>
                  <a:pt x="87" y="414"/>
                  <a:pt x="87" y="414"/>
                  <a:pt x="87" y="414"/>
                </a:cubicBezTo>
                <a:close/>
                <a:moveTo>
                  <a:pt x="154" y="142"/>
                </a:moveTo>
                <a:cubicBezTo>
                  <a:pt x="154" y="142"/>
                  <a:pt x="154" y="142"/>
                  <a:pt x="154" y="142"/>
                </a:cubicBezTo>
                <a:cubicBezTo>
                  <a:pt x="154" y="143"/>
                  <a:pt x="154" y="143"/>
                  <a:pt x="154" y="143"/>
                </a:cubicBezTo>
                <a:cubicBezTo>
                  <a:pt x="154" y="143"/>
                  <a:pt x="154" y="143"/>
                  <a:pt x="154" y="143"/>
                </a:cubicBezTo>
                <a:cubicBezTo>
                  <a:pt x="154" y="144"/>
                  <a:pt x="154" y="144"/>
                  <a:pt x="154" y="144"/>
                </a:cubicBezTo>
                <a:cubicBezTo>
                  <a:pt x="154" y="144"/>
                  <a:pt x="154" y="144"/>
                  <a:pt x="154" y="144"/>
                </a:cubicBezTo>
                <a:cubicBezTo>
                  <a:pt x="155" y="149"/>
                  <a:pt x="155" y="149"/>
                  <a:pt x="155" y="149"/>
                </a:cubicBezTo>
                <a:cubicBezTo>
                  <a:pt x="155" y="150"/>
                  <a:pt x="155" y="150"/>
                  <a:pt x="155" y="150"/>
                </a:cubicBezTo>
                <a:cubicBezTo>
                  <a:pt x="155" y="150"/>
                  <a:pt x="155" y="150"/>
                  <a:pt x="155" y="150"/>
                </a:cubicBezTo>
                <a:cubicBezTo>
                  <a:pt x="155" y="150"/>
                  <a:pt x="155" y="150"/>
                  <a:pt x="155" y="150"/>
                </a:cubicBezTo>
                <a:cubicBezTo>
                  <a:pt x="155" y="151"/>
                  <a:pt x="155" y="151"/>
                  <a:pt x="155" y="151"/>
                </a:cubicBezTo>
                <a:cubicBezTo>
                  <a:pt x="161" y="172"/>
                  <a:pt x="172" y="193"/>
                  <a:pt x="188" y="208"/>
                </a:cubicBezTo>
                <a:cubicBezTo>
                  <a:pt x="188" y="209"/>
                  <a:pt x="188" y="209"/>
                  <a:pt x="188" y="209"/>
                </a:cubicBezTo>
                <a:cubicBezTo>
                  <a:pt x="189" y="209"/>
                  <a:pt x="189" y="209"/>
                  <a:pt x="189" y="209"/>
                </a:cubicBezTo>
                <a:cubicBezTo>
                  <a:pt x="154" y="244"/>
                  <a:pt x="154" y="244"/>
                  <a:pt x="154" y="244"/>
                </a:cubicBezTo>
                <a:cubicBezTo>
                  <a:pt x="151" y="247"/>
                  <a:pt x="148" y="251"/>
                  <a:pt x="145" y="255"/>
                </a:cubicBezTo>
                <a:cubicBezTo>
                  <a:pt x="142" y="255"/>
                  <a:pt x="139" y="256"/>
                  <a:pt x="137" y="256"/>
                </a:cubicBezTo>
                <a:cubicBezTo>
                  <a:pt x="137" y="257"/>
                  <a:pt x="137" y="257"/>
                  <a:pt x="137" y="257"/>
                </a:cubicBezTo>
                <a:cubicBezTo>
                  <a:pt x="133" y="257"/>
                  <a:pt x="129" y="258"/>
                  <a:pt x="125" y="258"/>
                </a:cubicBezTo>
                <a:cubicBezTo>
                  <a:pt x="108" y="258"/>
                  <a:pt x="92" y="251"/>
                  <a:pt x="81" y="240"/>
                </a:cubicBezTo>
                <a:cubicBezTo>
                  <a:pt x="81" y="240"/>
                  <a:pt x="81" y="240"/>
                  <a:pt x="81" y="240"/>
                </a:cubicBezTo>
                <a:cubicBezTo>
                  <a:pt x="70" y="229"/>
                  <a:pt x="63" y="213"/>
                  <a:pt x="63" y="196"/>
                </a:cubicBezTo>
                <a:cubicBezTo>
                  <a:pt x="63" y="179"/>
                  <a:pt x="70" y="164"/>
                  <a:pt x="81" y="153"/>
                </a:cubicBezTo>
                <a:cubicBezTo>
                  <a:pt x="92" y="141"/>
                  <a:pt x="108" y="135"/>
                  <a:pt x="125" y="135"/>
                </a:cubicBezTo>
                <a:cubicBezTo>
                  <a:pt x="131" y="135"/>
                  <a:pt x="137" y="136"/>
                  <a:pt x="143" y="137"/>
                </a:cubicBezTo>
                <a:cubicBezTo>
                  <a:pt x="147" y="138"/>
                  <a:pt x="150" y="140"/>
                  <a:pt x="154" y="1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  <a:noAutofit/>
          </a:bodyPr>
          <a:lstStyle/>
          <a:p>
            <a:pPr fontAlgn="ctr"/>
            <a:endParaRPr lang="en-US" altLang="zh-CN" sz="135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86" name="Rectangle 4"/>
          <p:cNvSpPr>
            <a:spLocks noChangeArrowheads="1"/>
          </p:cNvSpPr>
          <p:nvPr/>
        </p:nvSpPr>
        <p:spPr bwMode="auto">
          <a:xfrm>
            <a:off x="4111968" y="1674198"/>
            <a:ext cx="1784566" cy="84508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35748" tIns="17874" rIns="35748" bIns="17874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5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7" name="67281187"/>
          <p:cNvSpPr>
            <a:spLocks noChangeArrowheads="1"/>
          </p:cNvSpPr>
          <p:nvPr/>
        </p:nvSpPr>
        <p:spPr bwMode="auto">
          <a:xfrm>
            <a:off x="443352" y="4508187"/>
            <a:ext cx="3401488" cy="563666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FFFFF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endParaRPr lang="en-US" altLang="zh-CN" sz="1050" b="1" kern="0" spc="225" dirty="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88" name="1624285745"/>
          <p:cNvSpPr>
            <a:spLocks noChangeArrowheads="1"/>
          </p:cNvSpPr>
          <p:nvPr/>
        </p:nvSpPr>
        <p:spPr bwMode="auto">
          <a:xfrm>
            <a:off x="816469" y="4607818"/>
            <a:ext cx="2866394" cy="38113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70C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txBody>
          <a:bodyPr wrap="square" lIns="12631" tIns="6316" rIns="12631" bIns="6316" anchor="ctr" anchorCtr="1">
            <a:no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787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　　</a:t>
            </a:r>
          </a:p>
        </p:txBody>
      </p:sp>
      <p:sp>
        <p:nvSpPr>
          <p:cNvPr id="289" name="891583618"/>
          <p:cNvSpPr txBox="1"/>
          <p:nvPr/>
        </p:nvSpPr>
        <p:spPr>
          <a:xfrm>
            <a:off x="445576" y="4508187"/>
            <a:ext cx="373117" cy="568530"/>
          </a:xfrm>
          <a:prstGeom prst="rect">
            <a:avLst/>
          </a:prstGeom>
          <a:noFill/>
        </p:spPr>
        <p:txBody>
          <a:bodyPr vert="vert270" wrap="square" rtlCol="0" anchor="ctr">
            <a:noAutofit/>
          </a:bodyPr>
          <a:lstStyle/>
          <a:p>
            <a:pPr algn="ctr" fontAlgn="ctr"/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终端</a:t>
            </a:r>
          </a:p>
        </p:txBody>
      </p:sp>
      <p:grpSp>
        <p:nvGrpSpPr>
          <p:cNvPr id="290" name="Group 15"/>
          <p:cNvGrpSpPr>
            <a:grpSpLocks noChangeAspect="1"/>
          </p:cNvGrpSpPr>
          <p:nvPr/>
        </p:nvGrpSpPr>
        <p:grpSpPr bwMode="auto">
          <a:xfrm>
            <a:off x="922169" y="4674916"/>
            <a:ext cx="240976" cy="269930"/>
            <a:chOff x="3415" y="1072"/>
            <a:chExt cx="541" cy="606"/>
          </a:xfrm>
          <a:solidFill>
            <a:schemeClr val="bg1"/>
          </a:solidFill>
        </p:grpSpPr>
        <p:sp>
          <p:nvSpPr>
            <p:cNvPr id="291" name="Freeform 16"/>
            <p:cNvSpPr>
              <a:spLocks noEditPoints="1"/>
            </p:cNvSpPr>
            <p:nvPr/>
          </p:nvSpPr>
          <p:spPr bwMode="auto">
            <a:xfrm>
              <a:off x="3518" y="1151"/>
              <a:ext cx="335" cy="450"/>
            </a:xfrm>
            <a:custGeom>
              <a:avLst/>
              <a:gdLst>
                <a:gd name="T0" fmla="*/ 1129 w 1467"/>
                <a:gd name="T1" fmla="*/ 1975 h 1975"/>
                <a:gd name="T2" fmla="*/ 339 w 1467"/>
                <a:gd name="T3" fmla="*/ 1975 h 1975"/>
                <a:gd name="T4" fmla="*/ 282 w 1467"/>
                <a:gd name="T5" fmla="*/ 1919 h 1975"/>
                <a:gd name="T6" fmla="*/ 282 w 1467"/>
                <a:gd name="T7" fmla="*/ 1311 h 1975"/>
                <a:gd name="T8" fmla="*/ 0 w 1467"/>
                <a:gd name="T9" fmla="*/ 733 h 1975"/>
                <a:gd name="T10" fmla="*/ 734 w 1467"/>
                <a:gd name="T11" fmla="*/ 0 h 1975"/>
                <a:gd name="T12" fmla="*/ 1467 w 1467"/>
                <a:gd name="T13" fmla="*/ 733 h 1975"/>
                <a:gd name="T14" fmla="*/ 1185 w 1467"/>
                <a:gd name="T15" fmla="*/ 1311 h 1975"/>
                <a:gd name="T16" fmla="*/ 1185 w 1467"/>
                <a:gd name="T17" fmla="*/ 1919 h 1975"/>
                <a:gd name="T18" fmla="*/ 1129 w 1467"/>
                <a:gd name="T19" fmla="*/ 1975 h 1975"/>
                <a:gd name="T20" fmla="*/ 395 w 1467"/>
                <a:gd name="T21" fmla="*/ 1862 h 1975"/>
                <a:gd name="T22" fmla="*/ 1072 w 1467"/>
                <a:gd name="T23" fmla="*/ 1862 h 1975"/>
                <a:gd name="T24" fmla="*/ 1072 w 1467"/>
                <a:gd name="T25" fmla="*/ 1283 h 1975"/>
                <a:gd name="T26" fmla="*/ 1096 w 1467"/>
                <a:gd name="T27" fmla="*/ 1237 h 1975"/>
                <a:gd name="T28" fmla="*/ 1355 w 1467"/>
                <a:gd name="T29" fmla="*/ 733 h 1975"/>
                <a:gd name="T30" fmla="*/ 734 w 1467"/>
                <a:gd name="T31" fmla="*/ 113 h 1975"/>
                <a:gd name="T32" fmla="*/ 113 w 1467"/>
                <a:gd name="T33" fmla="*/ 733 h 1975"/>
                <a:gd name="T34" fmla="*/ 372 w 1467"/>
                <a:gd name="T35" fmla="*/ 1237 h 1975"/>
                <a:gd name="T36" fmla="*/ 395 w 1467"/>
                <a:gd name="T37" fmla="*/ 1283 h 1975"/>
                <a:gd name="T38" fmla="*/ 395 w 1467"/>
                <a:gd name="T39" fmla="*/ 1862 h 1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67" h="1975">
                  <a:moveTo>
                    <a:pt x="1129" y="1975"/>
                  </a:moveTo>
                  <a:lnTo>
                    <a:pt x="339" y="1975"/>
                  </a:lnTo>
                  <a:cubicBezTo>
                    <a:pt x="308" y="1975"/>
                    <a:pt x="282" y="1950"/>
                    <a:pt x="282" y="1919"/>
                  </a:cubicBezTo>
                  <a:lnTo>
                    <a:pt x="282" y="1311"/>
                  </a:lnTo>
                  <a:cubicBezTo>
                    <a:pt x="105" y="1172"/>
                    <a:pt x="0" y="958"/>
                    <a:pt x="0" y="733"/>
                  </a:cubicBezTo>
                  <a:cubicBezTo>
                    <a:pt x="0" y="329"/>
                    <a:pt x="329" y="0"/>
                    <a:pt x="734" y="0"/>
                  </a:cubicBezTo>
                  <a:cubicBezTo>
                    <a:pt x="1138" y="0"/>
                    <a:pt x="1467" y="329"/>
                    <a:pt x="1467" y="733"/>
                  </a:cubicBezTo>
                  <a:cubicBezTo>
                    <a:pt x="1467" y="958"/>
                    <a:pt x="1362" y="1172"/>
                    <a:pt x="1185" y="1311"/>
                  </a:cubicBezTo>
                  <a:lnTo>
                    <a:pt x="1185" y="1919"/>
                  </a:lnTo>
                  <a:cubicBezTo>
                    <a:pt x="1185" y="1950"/>
                    <a:pt x="1160" y="1975"/>
                    <a:pt x="1129" y="1975"/>
                  </a:cubicBezTo>
                  <a:close/>
                  <a:moveTo>
                    <a:pt x="395" y="1862"/>
                  </a:moveTo>
                  <a:lnTo>
                    <a:pt x="1072" y="1862"/>
                  </a:lnTo>
                  <a:lnTo>
                    <a:pt x="1072" y="1283"/>
                  </a:lnTo>
                  <a:cubicBezTo>
                    <a:pt x="1072" y="1264"/>
                    <a:pt x="1081" y="1247"/>
                    <a:pt x="1096" y="1237"/>
                  </a:cubicBezTo>
                  <a:cubicBezTo>
                    <a:pt x="1258" y="1120"/>
                    <a:pt x="1355" y="932"/>
                    <a:pt x="1355" y="733"/>
                  </a:cubicBezTo>
                  <a:cubicBezTo>
                    <a:pt x="1355" y="391"/>
                    <a:pt x="1076" y="113"/>
                    <a:pt x="734" y="113"/>
                  </a:cubicBezTo>
                  <a:cubicBezTo>
                    <a:pt x="391" y="113"/>
                    <a:pt x="113" y="391"/>
                    <a:pt x="113" y="733"/>
                  </a:cubicBezTo>
                  <a:cubicBezTo>
                    <a:pt x="113" y="932"/>
                    <a:pt x="209" y="1120"/>
                    <a:pt x="372" y="1237"/>
                  </a:cubicBezTo>
                  <a:cubicBezTo>
                    <a:pt x="386" y="1248"/>
                    <a:pt x="395" y="1264"/>
                    <a:pt x="395" y="1283"/>
                  </a:cubicBezTo>
                  <a:lnTo>
                    <a:pt x="395" y="18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2" name="Freeform 17"/>
            <p:cNvSpPr>
              <a:spLocks noEditPoints="1"/>
            </p:cNvSpPr>
            <p:nvPr/>
          </p:nvSpPr>
          <p:spPr bwMode="auto">
            <a:xfrm>
              <a:off x="3595" y="1575"/>
              <a:ext cx="180" cy="103"/>
            </a:xfrm>
            <a:custGeom>
              <a:avLst/>
              <a:gdLst>
                <a:gd name="T0" fmla="*/ 395 w 790"/>
                <a:gd name="T1" fmla="*/ 452 h 452"/>
                <a:gd name="T2" fmla="*/ 0 w 790"/>
                <a:gd name="T3" fmla="*/ 57 h 452"/>
                <a:gd name="T4" fmla="*/ 56 w 790"/>
                <a:gd name="T5" fmla="*/ 0 h 452"/>
                <a:gd name="T6" fmla="*/ 733 w 790"/>
                <a:gd name="T7" fmla="*/ 0 h 452"/>
                <a:gd name="T8" fmla="*/ 790 w 790"/>
                <a:gd name="T9" fmla="*/ 57 h 452"/>
                <a:gd name="T10" fmla="*/ 395 w 790"/>
                <a:gd name="T11" fmla="*/ 452 h 452"/>
                <a:gd name="T12" fmla="*/ 125 w 790"/>
                <a:gd name="T13" fmla="*/ 113 h 452"/>
                <a:gd name="T14" fmla="*/ 395 w 790"/>
                <a:gd name="T15" fmla="*/ 339 h 452"/>
                <a:gd name="T16" fmla="*/ 664 w 790"/>
                <a:gd name="T17" fmla="*/ 113 h 452"/>
                <a:gd name="T18" fmla="*/ 125 w 790"/>
                <a:gd name="T19" fmla="*/ 113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452">
                  <a:moveTo>
                    <a:pt x="395" y="452"/>
                  </a:moveTo>
                  <a:cubicBezTo>
                    <a:pt x="167" y="452"/>
                    <a:pt x="0" y="192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lnTo>
                    <a:pt x="733" y="0"/>
                  </a:lnTo>
                  <a:cubicBezTo>
                    <a:pt x="764" y="0"/>
                    <a:pt x="790" y="26"/>
                    <a:pt x="790" y="57"/>
                  </a:cubicBezTo>
                  <a:cubicBezTo>
                    <a:pt x="790" y="192"/>
                    <a:pt x="623" y="452"/>
                    <a:pt x="395" y="452"/>
                  </a:cubicBezTo>
                  <a:close/>
                  <a:moveTo>
                    <a:pt x="125" y="113"/>
                  </a:moveTo>
                  <a:cubicBezTo>
                    <a:pt x="161" y="206"/>
                    <a:pt x="267" y="339"/>
                    <a:pt x="395" y="339"/>
                  </a:cubicBezTo>
                  <a:cubicBezTo>
                    <a:pt x="522" y="339"/>
                    <a:pt x="628" y="206"/>
                    <a:pt x="664" y="113"/>
                  </a:cubicBezTo>
                  <a:lnTo>
                    <a:pt x="125" y="11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3" name="Freeform 18"/>
            <p:cNvSpPr>
              <a:spLocks/>
            </p:cNvSpPr>
            <p:nvPr/>
          </p:nvSpPr>
          <p:spPr bwMode="auto">
            <a:xfrm>
              <a:off x="3595" y="1447"/>
              <a:ext cx="180" cy="25"/>
            </a:xfrm>
            <a:custGeom>
              <a:avLst/>
              <a:gdLst>
                <a:gd name="T0" fmla="*/ 733 w 790"/>
                <a:gd name="T1" fmla="*/ 113 h 113"/>
                <a:gd name="T2" fmla="*/ 56 w 790"/>
                <a:gd name="T3" fmla="*/ 113 h 113"/>
                <a:gd name="T4" fmla="*/ 0 w 790"/>
                <a:gd name="T5" fmla="*/ 56 h 113"/>
                <a:gd name="T6" fmla="*/ 56 w 790"/>
                <a:gd name="T7" fmla="*/ 0 h 113"/>
                <a:gd name="T8" fmla="*/ 733 w 790"/>
                <a:gd name="T9" fmla="*/ 0 h 113"/>
                <a:gd name="T10" fmla="*/ 790 w 790"/>
                <a:gd name="T11" fmla="*/ 56 h 113"/>
                <a:gd name="T12" fmla="*/ 733 w 790"/>
                <a:gd name="T13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0" h="113">
                  <a:moveTo>
                    <a:pt x="733" y="113"/>
                  </a:moveTo>
                  <a:lnTo>
                    <a:pt x="56" y="113"/>
                  </a:lnTo>
                  <a:cubicBezTo>
                    <a:pt x="25" y="113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lnTo>
                    <a:pt x="733" y="0"/>
                  </a:lnTo>
                  <a:cubicBezTo>
                    <a:pt x="764" y="0"/>
                    <a:pt x="790" y="25"/>
                    <a:pt x="790" y="56"/>
                  </a:cubicBezTo>
                  <a:cubicBezTo>
                    <a:pt x="790" y="87"/>
                    <a:pt x="764" y="113"/>
                    <a:pt x="733" y="1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4" name="Freeform 19"/>
            <p:cNvSpPr>
              <a:spLocks/>
            </p:cNvSpPr>
            <p:nvPr/>
          </p:nvSpPr>
          <p:spPr bwMode="auto">
            <a:xfrm>
              <a:off x="3594" y="1458"/>
              <a:ext cx="182" cy="53"/>
            </a:xfrm>
            <a:custGeom>
              <a:avLst/>
              <a:gdLst>
                <a:gd name="T0" fmla="*/ 738 w 799"/>
                <a:gd name="T1" fmla="*/ 230 h 230"/>
                <a:gd name="T2" fmla="*/ 729 w 799"/>
                <a:gd name="T3" fmla="*/ 229 h 230"/>
                <a:gd name="T4" fmla="*/ 52 w 799"/>
                <a:gd name="T5" fmla="*/ 116 h 230"/>
                <a:gd name="T6" fmla="*/ 5 w 799"/>
                <a:gd name="T7" fmla="*/ 51 h 230"/>
                <a:gd name="T8" fmla="*/ 70 w 799"/>
                <a:gd name="T9" fmla="*/ 5 h 230"/>
                <a:gd name="T10" fmla="*/ 748 w 799"/>
                <a:gd name="T11" fmla="*/ 118 h 230"/>
                <a:gd name="T12" fmla="*/ 794 w 799"/>
                <a:gd name="T13" fmla="*/ 183 h 230"/>
                <a:gd name="T14" fmla="*/ 738 w 799"/>
                <a:gd name="T1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9" h="230">
                  <a:moveTo>
                    <a:pt x="738" y="230"/>
                  </a:moveTo>
                  <a:cubicBezTo>
                    <a:pt x="736" y="230"/>
                    <a:pt x="732" y="230"/>
                    <a:pt x="729" y="229"/>
                  </a:cubicBezTo>
                  <a:lnTo>
                    <a:pt x="52" y="116"/>
                  </a:lnTo>
                  <a:cubicBezTo>
                    <a:pt x="21" y="111"/>
                    <a:pt x="0" y="82"/>
                    <a:pt x="5" y="51"/>
                  </a:cubicBezTo>
                  <a:cubicBezTo>
                    <a:pt x="11" y="21"/>
                    <a:pt x="40" y="0"/>
                    <a:pt x="70" y="5"/>
                  </a:cubicBezTo>
                  <a:lnTo>
                    <a:pt x="748" y="118"/>
                  </a:lnTo>
                  <a:cubicBezTo>
                    <a:pt x="778" y="123"/>
                    <a:pt x="799" y="152"/>
                    <a:pt x="794" y="183"/>
                  </a:cubicBezTo>
                  <a:cubicBezTo>
                    <a:pt x="789" y="211"/>
                    <a:pt x="765" y="230"/>
                    <a:pt x="738" y="2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5" name="Freeform 20"/>
            <p:cNvSpPr>
              <a:spLocks/>
            </p:cNvSpPr>
            <p:nvPr/>
          </p:nvSpPr>
          <p:spPr bwMode="auto">
            <a:xfrm>
              <a:off x="3594" y="1510"/>
              <a:ext cx="182" cy="52"/>
            </a:xfrm>
            <a:custGeom>
              <a:avLst/>
              <a:gdLst>
                <a:gd name="T0" fmla="*/ 738 w 799"/>
                <a:gd name="T1" fmla="*/ 230 h 230"/>
                <a:gd name="T2" fmla="*/ 729 w 799"/>
                <a:gd name="T3" fmla="*/ 229 h 230"/>
                <a:gd name="T4" fmla="*/ 52 w 799"/>
                <a:gd name="T5" fmla="*/ 116 h 230"/>
                <a:gd name="T6" fmla="*/ 5 w 799"/>
                <a:gd name="T7" fmla="*/ 51 h 230"/>
                <a:gd name="T8" fmla="*/ 70 w 799"/>
                <a:gd name="T9" fmla="*/ 5 h 230"/>
                <a:gd name="T10" fmla="*/ 748 w 799"/>
                <a:gd name="T11" fmla="*/ 118 h 230"/>
                <a:gd name="T12" fmla="*/ 794 w 799"/>
                <a:gd name="T13" fmla="*/ 183 h 230"/>
                <a:gd name="T14" fmla="*/ 738 w 799"/>
                <a:gd name="T1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9" h="230">
                  <a:moveTo>
                    <a:pt x="738" y="230"/>
                  </a:moveTo>
                  <a:cubicBezTo>
                    <a:pt x="736" y="230"/>
                    <a:pt x="732" y="230"/>
                    <a:pt x="729" y="229"/>
                  </a:cubicBezTo>
                  <a:lnTo>
                    <a:pt x="52" y="116"/>
                  </a:lnTo>
                  <a:cubicBezTo>
                    <a:pt x="21" y="111"/>
                    <a:pt x="0" y="82"/>
                    <a:pt x="5" y="51"/>
                  </a:cubicBezTo>
                  <a:cubicBezTo>
                    <a:pt x="11" y="20"/>
                    <a:pt x="40" y="0"/>
                    <a:pt x="70" y="5"/>
                  </a:cubicBezTo>
                  <a:lnTo>
                    <a:pt x="748" y="118"/>
                  </a:lnTo>
                  <a:cubicBezTo>
                    <a:pt x="778" y="123"/>
                    <a:pt x="799" y="152"/>
                    <a:pt x="794" y="183"/>
                  </a:cubicBezTo>
                  <a:cubicBezTo>
                    <a:pt x="789" y="210"/>
                    <a:pt x="765" y="230"/>
                    <a:pt x="738" y="2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6" name="Freeform 21"/>
            <p:cNvSpPr>
              <a:spLocks/>
            </p:cNvSpPr>
            <p:nvPr/>
          </p:nvSpPr>
          <p:spPr bwMode="auto">
            <a:xfrm>
              <a:off x="3415" y="1318"/>
              <a:ext cx="77" cy="26"/>
            </a:xfrm>
            <a:custGeom>
              <a:avLst/>
              <a:gdLst>
                <a:gd name="T0" fmla="*/ 283 w 339"/>
                <a:gd name="T1" fmla="*/ 113 h 113"/>
                <a:gd name="T2" fmla="*/ 57 w 339"/>
                <a:gd name="T3" fmla="*/ 113 h 113"/>
                <a:gd name="T4" fmla="*/ 0 w 339"/>
                <a:gd name="T5" fmla="*/ 57 h 113"/>
                <a:gd name="T6" fmla="*/ 57 w 339"/>
                <a:gd name="T7" fmla="*/ 0 h 113"/>
                <a:gd name="T8" fmla="*/ 283 w 339"/>
                <a:gd name="T9" fmla="*/ 0 h 113"/>
                <a:gd name="T10" fmla="*/ 339 w 339"/>
                <a:gd name="T11" fmla="*/ 57 h 113"/>
                <a:gd name="T12" fmla="*/ 283 w 339"/>
                <a:gd name="T13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" h="113">
                  <a:moveTo>
                    <a:pt x="283" y="113"/>
                  </a:moveTo>
                  <a:lnTo>
                    <a:pt x="57" y="113"/>
                  </a:lnTo>
                  <a:cubicBezTo>
                    <a:pt x="26" y="113"/>
                    <a:pt x="0" y="88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lnTo>
                    <a:pt x="283" y="0"/>
                  </a:lnTo>
                  <a:cubicBezTo>
                    <a:pt x="314" y="0"/>
                    <a:pt x="339" y="26"/>
                    <a:pt x="339" y="57"/>
                  </a:cubicBezTo>
                  <a:cubicBezTo>
                    <a:pt x="339" y="88"/>
                    <a:pt x="314" y="113"/>
                    <a:pt x="283" y="1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7" name="Freeform 22"/>
            <p:cNvSpPr>
              <a:spLocks/>
            </p:cNvSpPr>
            <p:nvPr/>
          </p:nvSpPr>
          <p:spPr bwMode="auto">
            <a:xfrm>
              <a:off x="3878" y="1318"/>
              <a:ext cx="78" cy="26"/>
            </a:xfrm>
            <a:custGeom>
              <a:avLst/>
              <a:gdLst>
                <a:gd name="T0" fmla="*/ 283 w 339"/>
                <a:gd name="T1" fmla="*/ 113 h 113"/>
                <a:gd name="T2" fmla="*/ 57 w 339"/>
                <a:gd name="T3" fmla="*/ 113 h 113"/>
                <a:gd name="T4" fmla="*/ 0 w 339"/>
                <a:gd name="T5" fmla="*/ 57 h 113"/>
                <a:gd name="T6" fmla="*/ 57 w 339"/>
                <a:gd name="T7" fmla="*/ 0 h 113"/>
                <a:gd name="T8" fmla="*/ 283 w 339"/>
                <a:gd name="T9" fmla="*/ 0 h 113"/>
                <a:gd name="T10" fmla="*/ 339 w 339"/>
                <a:gd name="T11" fmla="*/ 57 h 113"/>
                <a:gd name="T12" fmla="*/ 283 w 339"/>
                <a:gd name="T13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" h="113">
                  <a:moveTo>
                    <a:pt x="283" y="113"/>
                  </a:moveTo>
                  <a:lnTo>
                    <a:pt x="57" y="113"/>
                  </a:lnTo>
                  <a:cubicBezTo>
                    <a:pt x="26" y="113"/>
                    <a:pt x="0" y="88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lnTo>
                    <a:pt x="283" y="0"/>
                  </a:lnTo>
                  <a:cubicBezTo>
                    <a:pt x="314" y="0"/>
                    <a:pt x="339" y="26"/>
                    <a:pt x="339" y="57"/>
                  </a:cubicBezTo>
                  <a:cubicBezTo>
                    <a:pt x="339" y="88"/>
                    <a:pt x="314" y="113"/>
                    <a:pt x="283" y="1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8" name="Freeform 23"/>
            <p:cNvSpPr>
              <a:spLocks/>
            </p:cNvSpPr>
            <p:nvPr/>
          </p:nvSpPr>
          <p:spPr bwMode="auto">
            <a:xfrm>
              <a:off x="3568" y="1072"/>
              <a:ext cx="55" cy="79"/>
            </a:xfrm>
            <a:custGeom>
              <a:avLst/>
              <a:gdLst>
                <a:gd name="T0" fmla="*/ 177 w 241"/>
                <a:gd name="T1" fmla="*/ 347 h 347"/>
                <a:gd name="T2" fmla="*/ 127 w 241"/>
                <a:gd name="T3" fmla="*/ 316 h 347"/>
                <a:gd name="T4" fmla="*/ 14 w 241"/>
                <a:gd name="T5" fmla="*/ 90 h 347"/>
                <a:gd name="T6" fmla="*/ 39 w 241"/>
                <a:gd name="T7" fmla="*/ 14 h 347"/>
                <a:gd name="T8" fmla="*/ 115 w 241"/>
                <a:gd name="T9" fmla="*/ 39 h 347"/>
                <a:gd name="T10" fmla="*/ 228 w 241"/>
                <a:gd name="T11" fmla="*/ 265 h 347"/>
                <a:gd name="T12" fmla="*/ 202 w 241"/>
                <a:gd name="T13" fmla="*/ 341 h 347"/>
                <a:gd name="T14" fmla="*/ 177 w 241"/>
                <a:gd name="T1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1" h="347">
                  <a:moveTo>
                    <a:pt x="177" y="347"/>
                  </a:moveTo>
                  <a:cubicBezTo>
                    <a:pt x="156" y="347"/>
                    <a:pt x="136" y="335"/>
                    <a:pt x="127" y="316"/>
                  </a:cubicBezTo>
                  <a:lnTo>
                    <a:pt x="14" y="90"/>
                  </a:lnTo>
                  <a:cubicBezTo>
                    <a:pt x="0" y="62"/>
                    <a:pt x="11" y="28"/>
                    <a:pt x="39" y="14"/>
                  </a:cubicBezTo>
                  <a:cubicBezTo>
                    <a:pt x="67" y="0"/>
                    <a:pt x="101" y="12"/>
                    <a:pt x="115" y="39"/>
                  </a:cubicBezTo>
                  <a:lnTo>
                    <a:pt x="228" y="265"/>
                  </a:lnTo>
                  <a:cubicBezTo>
                    <a:pt x="241" y="293"/>
                    <a:pt x="230" y="327"/>
                    <a:pt x="202" y="341"/>
                  </a:cubicBezTo>
                  <a:cubicBezTo>
                    <a:pt x="194" y="345"/>
                    <a:pt x="185" y="347"/>
                    <a:pt x="177" y="3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9" name="Freeform 24"/>
            <p:cNvSpPr>
              <a:spLocks/>
            </p:cNvSpPr>
            <p:nvPr/>
          </p:nvSpPr>
          <p:spPr bwMode="auto">
            <a:xfrm>
              <a:off x="3748" y="1072"/>
              <a:ext cx="55" cy="79"/>
            </a:xfrm>
            <a:custGeom>
              <a:avLst/>
              <a:gdLst>
                <a:gd name="T0" fmla="*/ 64 w 242"/>
                <a:gd name="T1" fmla="*/ 347 h 347"/>
                <a:gd name="T2" fmla="*/ 39 w 242"/>
                <a:gd name="T3" fmla="*/ 341 h 347"/>
                <a:gd name="T4" fmla="*/ 14 w 242"/>
                <a:gd name="T5" fmla="*/ 265 h 347"/>
                <a:gd name="T6" fmla="*/ 126 w 242"/>
                <a:gd name="T7" fmla="*/ 39 h 347"/>
                <a:gd name="T8" fmla="*/ 202 w 242"/>
                <a:gd name="T9" fmla="*/ 14 h 347"/>
                <a:gd name="T10" fmla="*/ 228 w 242"/>
                <a:gd name="T11" fmla="*/ 89 h 347"/>
                <a:gd name="T12" fmla="*/ 115 w 242"/>
                <a:gd name="T13" fmla="*/ 315 h 347"/>
                <a:gd name="T14" fmla="*/ 64 w 242"/>
                <a:gd name="T1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" h="347">
                  <a:moveTo>
                    <a:pt x="64" y="347"/>
                  </a:moveTo>
                  <a:cubicBezTo>
                    <a:pt x="56" y="347"/>
                    <a:pt x="47" y="345"/>
                    <a:pt x="39" y="341"/>
                  </a:cubicBezTo>
                  <a:cubicBezTo>
                    <a:pt x="11" y="327"/>
                    <a:pt x="0" y="293"/>
                    <a:pt x="14" y="265"/>
                  </a:cubicBezTo>
                  <a:lnTo>
                    <a:pt x="126" y="39"/>
                  </a:lnTo>
                  <a:cubicBezTo>
                    <a:pt x="141" y="11"/>
                    <a:pt x="175" y="0"/>
                    <a:pt x="202" y="14"/>
                  </a:cubicBezTo>
                  <a:cubicBezTo>
                    <a:pt x="230" y="28"/>
                    <a:pt x="242" y="62"/>
                    <a:pt x="228" y="89"/>
                  </a:cubicBezTo>
                  <a:lnTo>
                    <a:pt x="115" y="315"/>
                  </a:lnTo>
                  <a:cubicBezTo>
                    <a:pt x="105" y="335"/>
                    <a:pt x="85" y="347"/>
                    <a:pt x="64" y="3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0" name="Freeform 25"/>
            <p:cNvSpPr>
              <a:spLocks/>
            </p:cNvSpPr>
            <p:nvPr/>
          </p:nvSpPr>
          <p:spPr bwMode="auto">
            <a:xfrm>
              <a:off x="3439" y="1175"/>
              <a:ext cx="81" cy="53"/>
            </a:xfrm>
            <a:custGeom>
              <a:avLst/>
              <a:gdLst>
                <a:gd name="T0" fmla="*/ 290 w 355"/>
                <a:gd name="T1" fmla="*/ 233 h 233"/>
                <a:gd name="T2" fmla="*/ 265 w 355"/>
                <a:gd name="T3" fmla="*/ 227 h 233"/>
                <a:gd name="T4" fmla="*/ 39 w 355"/>
                <a:gd name="T5" fmla="*/ 114 h 233"/>
                <a:gd name="T6" fmla="*/ 14 w 355"/>
                <a:gd name="T7" fmla="*/ 39 h 233"/>
                <a:gd name="T8" fmla="*/ 90 w 355"/>
                <a:gd name="T9" fmla="*/ 13 h 233"/>
                <a:gd name="T10" fmla="*/ 316 w 355"/>
                <a:gd name="T11" fmla="*/ 126 h 233"/>
                <a:gd name="T12" fmla="*/ 341 w 355"/>
                <a:gd name="T13" fmla="*/ 202 h 233"/>
                <a:gd name="T14" fmla="*/ 290 w 355"/>
                <a:gd name="T15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5" h="233">
                  <a:moveTo>
                    <a:pt x="290" y="233"/>
                  </a:moveTo>
                  <a:cubicBezTo>
                    <a:pt x="282" y="233"/>
                    <a:pt x="274" y="231"/>
                    <a:pt x="265" y="227"/>
                  </a:cubicBezTo>
                  <a:lnTo>
                    <a:pt x="39" y="114"/>
                  </a:lnTo>
                  <a:cubicBezTo>
                    <a:pt x="11" y="100"/>
                    <a:pt x="0" y="67"/>
                    <a:pt x="14" y="39"/>
                  </a:cubicBezTo>
                  <a:cubicBezTo>
                    <a:pt x="28" y="11"/>
                    <a:pt x="62" y="0"/>
                    <a:pt x="90" y="13"/>
                  </a:cubicBezTo>
                  <a:lnTo>
                    <a:pt x="316" y="126"/>
                  </a:lnTo>
                  <a:cubicBezTo>
                    <a:pt x="344" y="140"/>
                    <a:pt x="355" y="174"/>
                    <a:pt x="341" y="202"/>
                  </a:cubicBezTo>
                  <a:cubicBezTo>
                    <a:pt x="331" y="222"/>
                    <a:pt x="311" y="233"/>
                    <a:pt x="290" y="2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1" name="Freeform 26"/>
            <p:cNvSpPr>
              <a:spLocks/>
            </p:cNvSpPr>
            <p:nvPr/>
          </p:nvSpPr>
          <p:spPr bwMode="auto">
            <a:xfrm>
              <a:off x="3851" y="1175"/>
              <a:ext cx="81" cy="53"/>
            </a:xfrm>
            <a:custGeom>
              <a:avLst/>
              <a:gdLst>
                <a:gd name="T0" fmla="*/ 64 w 354"/>
                <a:gd name="T1" fmla="*/ 233 h 233"/>
                <a:gd name="T2" fmla="*/ 13 w 354"/>
                <a:gd name="T3" fmla="*/ 202 h 233"/>
                <a:gd name="T4" fmla="*/ 39 w 354"/>
                <a:gd name="T5" fmla="*/ 126 h 233"/>
                <a:gd name="T6" fmla="*/ 265 w 354"/>
                <a:gd name="T7" fmla="*/ 13 h 233"/>
                <a:gd name="T8" fmla="*/ 340 w 354"/>
                <a:gd name="T9" fmla="*/ 39 h 233"/>
                <a:gd name="T10" fmla="*/ 315 w 354"/>
                <a:gd name="T11" fmla="*/ 115 h 233"/>
                <a:gd name="T12" fmla="*/ 89 w 354"/>
                <a:gd name="T13" fmla="*/ 228 h 233"/>
                <a:gd name="T14" fmla="*/ 64 w 354"/>
                <a:gd name="T15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4" h="233">
                  <a:moveTo>
                    <a:pt x="64" y="233"/>
                  </a:moveTo>
                  <a:cubicBezTo>
                    <a:pt x="43" y="233"/>
                    <a:pt x="23" y="222"/>
                    <a:pt x="13" y="202"/>
                  </a:cubicBezTo>
                  <a:cubicBezTo>
                    <a:pt x="0" y="174"/>
                    <a:pt x="11" y="140"/>
                    <a:pt x="39" y="126"/>
                  </a:cubicBezTo>
                  <a:lnTo>
                    <a:pt x="265" y="13"/>
                  </a:lnTo>
                  <a:cubicBezTo>
                    <a:pt x="292" y="0"/>
                    <a:pt x="326" y="11"/>
                    <a:pt x="340" y="39"/>
                  </a:cubicBezTo>
                  <a:cubicBezTo>
                    <a:pt x="354" y="67"/>
                    <a:pt x="343" y="101"/>
                    <a:pt x="315" y="115"/>
                  </a:cubicBezTo>
                  <a:lnTo>
                    <a:pt x="89" y="228"/>
                  </a:lnTo>
                  <a:cubicBezTo>
                    <a:pt x="81" y="231"/>
                    <a:pt x="72" y="233"/>
                    <a:pt x="64" y="2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th-TH" sz="135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2" name="Freeform 21"/>
          <p:cNvSpPr>
            <a:spLocks noEditPoints="1"/>
          </p:cNvSpPr>
          <p:nvPr/>
        </p:nvSpPr>
        <p:spPr bwMode="auto">
          <a:xfrm>
            <a:off x="1408553" y="4714222"/>
            <a:ext cx="384593" cy="209510"/>
          </a:xfrm>
          <a:custGeom>
            <a:avLst/>
            <a:gdLst>
              <a:gd name="T0" fmla="*/ 647 w 2110"/>
              <a:gd name="T1" fmla="*/ 1062 h 1284"/>
              <a:gd name="T2" fmla="*/ 425 w 2110"/>
              <a:gd name="T3" fmla="*/ 1284 h 1284"/>
              <a:gd name="T4" fmla="*/ 202 w 2110"/>
              <a:gd name="T5" fmla="*/ 1062 h 1284"/>
              <a:gd name="T6" fmla="*/ 425 w 2110"/>
              <a:gd name="T7" fmla="*/ 839 h 1284"/>
              <a:gd name="T8" fmla="*/ 647 w 2110"/>
              <a:gd name="T9" fmla="*/ 1062 h 1284"/>
              <a:gd name="T10" fmla="*/ 2110 w 2110"/>
              <a:gd name="T11" fmla="*/ 743 h 1284"/>
              <a:gd name="T12" fmla="*/ 2110 w 2110"/>
              <a:gd name="T13" fmla="*/ 982 h 1284"/>
              <a:gd name="T14" fmla="*/ 2030 w 2110"/>
              <a:gd name="T15" fmla="*/ 1062 h 1284"/>
              <a:gd name="T16" fmla="*/ 1994 w 2110"/>
              <a:gd name="T17" fmla="*/ 1062 h 1284"/>
              <a:gd name="T18" fmla="*/ 1705 w 2110"/>
              <a:gd name="T19" fmla="*/ 773 h 1284"/>
              <a:gd name="T20" fmla="*/ 1416 w 2110"/>
              <a:gd name="T21" fmla="*/ 1062 h 1284"/>
              <a:gd name="T22" fmla="*/ 714 w 2110"/>
              <a:gd name="T23" fmla="*/ 1062 h 1284"/>
              <a:gd name="T24" fmla="*/ 425 w 2110"/>
              <a:gd name="T25" fmla="*/ 773 h 1284"/>
              <a:gd name="T26" fmla="*/ 135 w 2110"/>
              <a:gd name="T27" fmla="*/ 1062 h 1284"/>
              <a:gd name="T28" fmla="*/ 80 w 2110"/>
              <a:gd name="T29" fmla="*/ 1062 h 1284"/>
              <a:gd name="T30" fmla="*/ 0 w 2110"/>
              <a:gd name="T31" fmla="*/ 982 h 1284"/>
              <a:gd name="T32" fmla="*/ 0 w 2110"/>
              <a:gd name="T33" fmla="*/ 658 h 1284"/>
              <a:gd name="T34" fmla="*/ 1020 w 2110"/>
              <a:gd name="T35" fmla="*/ 658 h 1284"/>
              <a:gd name="T36" fmla="*/ 1020 w 2110"/>
              <a:gd name="T37" fmla="*/ 40 h 1284"/>
              <a:gd name="T38" fmla="*/ 1055 w 2110"/>
              <a:gd name="T39" fmla="*/ 0 h 1284"/>
              <a:gd name="T40" fmla="*/ 1060 w 2110"/>
              <a:gd name="T41" fmla="*/ 0 h 1284"/>
              <a:gd name="T42" fmla="*/ 1415 w 2110"/>
              <a:gd name="T43" fmla="*/ 0 h 1284"/>
              <a:gd name="T44" fmla="*/ 1533 w 2110"/>
              <a:gd name="T45" fmla="*/ 70 h 1284"/>
              <a:gd name="T46" fmla="*/ 1745 w 2110"/>
              <a:gd name="T47" fmla="*/ 463 h 1284"/>
              <a:gd name="T48" fmla="*/ 1857 w 2110"/>
              <a:gd name="T49" fmla="*/ 563 h 1284"/>
              <a:gd name="T50" fmla="*/ 2036 w 2110"/>
              <a:gd name="T51" fmla="*/ 634 h 1284"/>
              <a:gd name="T52" fmla="*/ 2110 w 2110"/>
              <a:gd name="T53" fmla="*/ 743 h 1284"/>
              <a:gd name="T54" fmla="*/ 1634 w 2110"/>
              <a:gd name="T55" fmla="*/ 530 h 1284"/>
              <a:gd name="T56" fmla="*/ 1435 w 2110"/>
              <a:gd name="T57" fmla="*/ 169 h 1284"/>
              <a:gd name="T58" fmla="*/ 1376 w 2110"/>
              <a:gd name="T59" fmla="*/ 134 h 1284"/>
              <a:gd name="T60" fmla="*/ 1190 w 2110"/>
              <a:gd name="T61" fmla="*/ 134 h 1284"/>
              <a:gd name="T62" fmla="*/ 1149 w 2110"/>
              <a:gd name="T63" fmla="*/ 174 h 1284"/>
              <a:gd name="T64" fmla="*/ 1149 w 2110"/>
              <a:gd name="T65" fmla="*/ 524 h 1284"/>
              <a:gd name="T66" fmla="*/ 1190 w 2110"/>
              <a:gd name="T67" fmla="*/ 565 h 1284"/>
              <a:gd name="T68" fmla="*/ 1613 w 2110"/>
              <a:gd name="T69" fmla="*/ 565 h 1284"/>
              <a:gd name="T70" fmla="*/ 1634 w 2110"/>
              <a:gd name="T71" fmla="*/ 530 h 1284"/>
              <a:gd name="T72" fmla="*/ 1055 w 2110"/>
              <a:gd name="T73" fmla="*/ 0 h 1284"/>
              <a:gd name="T74" fmla="*/ 1055 w 2110"/>
              <a:gd name="T75" fmla="*/ 0 h 1284"/>
              <a:gd name="T76" fmla="*/ 1060 w 2110"/>
              <a:gd name="T77" fmla="*/ 0 h 1284"/>
              <a:gd name="T78" fmla="*/ 1055 w 2110"/>
              <a:gd name="T79" fmla="*/ 0 h 1284"/>
              <a:gd name="T80" fmla="*/ 1705 w 2110"/>
              <a:gd name="T81" fmla="*/ 839 h 1284"/>
              <a:gd name="T82" fmla="*/ 1482 w 2110"/>
              <a:gd name="T83" fmla="*/ 1062 h 1284"/>
              <a:gd name="T84" fmla="*/ 1705 w 2110"/>
              <a:gd name="T85" fmla="*/ 1284 h 1284"/>
              <a:gd name="T86" fmla="*/ 1927 w 2110"/>
              <a:gd name="T87" fmla="*/ 1062 h 1284"/>
              <a:gd name="T88" fmla="*/ 1705 w 2110"/>
              <a:gd name="T89" fmla="*/ 839 h 1284"/>
              <a:gd name="T90" fmla="*/ 122 w 2110"/>
              <a:gd name="T91" fmla="*/ 150 h 1284"/>
              <a:gd name="T92" fmla="*/ 122 w 2110"/>
              <a:gd name="T93" fmla="*/ 563 h 1284"/>
              <a:gd name="T94" fmla="*/ 483 w 2110"/>
              <a:gd name="T95" fmla="*/ 357 h 1284"/>
              <a:gd name="T96" fmla="*/ 122 w 2110"/>
              <a:gd name="T97" fmla="*/ 150 h 1284"/>
              <a:gd name="T98" fmla="*/ 540 w 2110"/>
              <a:gd name="T99" fmla="*/ 389 h 1284"/>
              <a:gd name="T100" fmla="*/ 176 w 2110"/>
              <a:gd name="T101" fmla="*/ 597 h 1284"/>
              <a:gd name="T102" fmla="*/ 903 w 2110"/>
              <a:gd name="T103" fmla="*/ 597 h 1284"/>
              <a:gd name="T104" fmla="*/ 540 w 2110"/>
              <a:gd name="T105" fmla="*/ 389 h 1284"/>
              <a:gd name="T106" fmla="*/ 179 w 2110"/>
              <a:gd name="T107" fmla="*/ 118 h 1284"/>
              <a:gd name="T108" fmla="*/ 540 w 2110"/>
              <a:gd name="T109" fmla="*/ 324 h 1284"/>
              <a:gd name="T110" fmla="*/ 902 w 2110"/>
              <a:gd name="T111" fmla="*/ 118 h 1284"/>
              <a:gd name="T112" fmla="*/ 179 w 2110"/>
              <a:gd name="T113" fmla="*/ 118 h 1284"/>
              <a:gd name="T114" fmla="*/ 597 w 2110"/>
              <a:gd name="T115" fmla="*/ 357 h 1284"/>
              <a:gd name="T116" fmla="*/ 959 w 2110"/>
              <a:gd name="T117" fmla="*/ 565 h 1284"/>
              <a:gd name="T118" fmla="*/ 959 w 2110"/>
              <a:gd name="T119" fmla="*/ 150 h 1284"/>
              <a:gd name="T120" fmla="*/ 597 w 2110"/>
              <a:gd name="T121" fmla="*/ 357 h 1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10" h="1284">
                <a:moveTo>
                  <a:pt x="647" y="1062"/>
                </a:moveTo>
                <a:cubicBezTo>
                  <a:pt x="647" y="1184"/>
                  <a:pt x="548" y="1284"/>
                  <a:pt x="425" y="1284"/>
                </a:cubicBezTo>
                <a:cubicBezTo>
                  <a:pt x="302" y="1284"/>
                  <a:pt x="202" y="1184"/>
                  <a:pt x="202" y="1062"/>
                </a:cubicBezTo>
                <a:cubicBezTo>
                  <a:pt x="202" y="939"/>
                  <a:pt x="302" y="839"/>
                  <a:pt x="425" y="839"/>
                </a:cubicBezTo>
                <a:cubicBezTo>
                  <a:pt x="548" y="839"/>
                  <a:pt x="647" y="939"/>
                  <a:pt x="647" y="1062"/>
                </a:cubicBezTo>
                <a:close/>
                <a:moveTo>
                  <a:pt x="2110" y="743"/>
                </a:moveTo>
                <a:lnTo>
                  <a:pt x="2110" y="982"/>
                </a:lnTo>
                <a:cubicBezTo>
                  <a:pt x="2110" y="1026"/>
                  <a:pt x="2074" y="1062"/>
                  <a:pt x="2030" y="1062"/>
                </a:cubicBezTo>
                <a:lnTo>
                  <a:pt x="1994" y="1062"/>
                </a:lnTo>
                <a:cubicBezTo>
                  <a:pt x="1994" y="902"/>
                  <a:pt x="1864" y="773"/>
                  <a:pt x="1705" y="773"/>
                </a:cubicBezTo>
                <a:cubicBezTo>
                  <a:pt x="1545" y="773"/>
                  <a:pt x="1416" y="902"/>
                  <a:pt x="1416" y="1062"/>
                </a:cubicBezTo>
                <a:lnTo>
                  <a:pt x="714" y="1062"/>
                </a:lnTo>
                <a:cubicBezTo>
                  <a:pt x="714" y="902"/>
                  <a:pt x="585" y="773"/>
                  <a:pt x="425" y="773"/>
                </a:cubicBezTo>
                <a:cubicBezTo>
                  <a:pt x="265" y="773"/>
                  <a:pt x="135" y="902"/>
                  <a:pt x="135" y="1062"/>
                </a:cubicBezTo>
                <a:lnTo>
                  <a:pt x="80" y="1062"/>
                </a:lnTo>
                <a:cubicBezTo>
                  <a:pt x="36" y="1062"/>
                  <a:pt x="0" y="1026"/>
                  <a:pt x="0" y="982"/>
                </a:cubicBezTo>
                <a:lnTo>
                  <a:pt x="0" y="658"/>
                </a:lnTo>
                <a:lnTo>
                  <a:pt x="1020" y="658"/>
                </a:lnTo>
                <a:lnTo>
                  <a:pt x="1020" y="40"/>
                </a:lnTo>
                <a:cubicBezTo>
                  <a:pt x="1020" y="20"/>
                  <a:pt x="1035" y="3"/>
                  <a:pt x="1055" y="0"/>
                </a:cubicBezTo>
                <a:cubicBezTo>
                  <a:pt x="1057" y="0"/>
                  <a:pt x="1059" y="0"/>
                  <a:pt x="1060" y="0"/>
                </a:cubicBezTo>
                <a:lnTo>
                  <a:pt x="1415" y="0"/>
                </a:lnTo>
                <a:cubicBezTo>
                  <a:pt x="1459" y="0"/>
                  <a:pt x="1512" y="31"/>
                  <a:pt x="1533" y="70"/>
                </a:cubicBezTo>
                <a:lnTo>
                  <a:pt x="1745" y="463"/>
                </a:lnTo>
                <a:cubicBezTo>
                  <a:pt x="1766" y="501"/>
                  <a:pt x="1816" y="546"/>
                  <a:pt x="1857" y="563"/>
                </a:cubicBezTo>
                <a:lnTo>
                  <a:pt x="2036" y="634"/>
                </a:lnTo>
                <a:cubicBezTo>
                  <a:pt x="2077" y="650"/>
                  <a:pt x="2110" y="699"/>
                  <a:pt x="2110" y="743"/>
                </a:cubicBezTo>
                <a:close/>
                <a:moveTo>
                  <a:pt x="1634" y="530"/>
                </a:moveTo>
                <a:lnTo>
                  <a:pt x="1435" y="169"/>
                </a:lnTo>
                <a:cubicBezTo>
                  <a:pt x="1424" y="150"/>
                  <a:pt x="1398" y="134"/>
                  <a:pt x="1376" y="134"/>
                </a:cubicBezTo>
                <a:lnTo>
                  <a:pt x="1190" y="134"/>
                </a:lnTo>
                <a:cubicBezTo>
                  <a:pt x="1168" y="134"/>
                  <a:pt x="1149" y="152"/>
                  <a:pt x="1149" y="174"/>
                </a:cubicBezTo>
                <a:lnTo>
                  <a:pt x="1149" y="524"/>
                </a:lnTo>
                <a:cubicBezTo>
                  <a:pt x="1149" y="546"/>
                  <a:pt x="1168" y="565"/>
                  <a:pt x="1190" y="565"/>
                </a:cubicBezTo>
                <a:lnTo>
                  <a:pt x="1613" y="565"/>
                </a:lnTo>
                <a:cubicBezTo>
                  <a:pt x="1635" y="565"/>
                  <a:pt x="1644" y="549"/>
                  <a:pt x="1634" y="530"/>
                </a:cubicBezTo>
                <a:close/>
                <a:moveTo>
                  <a:pt x="1055" y="0"/>
                </a:moveTo>
                <a:lnTo>
                  <a:pt x="1055" y="0"/>
                </a:lnTo>
                <a:cubicBezTo>
                  <a:pt x="1057" y="0"/>
                  <a:pt x="1059" y="0"/>
                  <a:pt x="1060" y="0"/>
                </a:cubicBezTo>
                <a:lnTo>
                  <a:pt x="1055" y="0"/>
                </a:lnTo>
                <a:close/>
                <a:moveTo>
                  <a:pt x="1705" y="839"/>
                </a:moveTo>
                <a:cubicBezTo>
                  <a:pt x="1582" y="839"/>
                  <a:pt x="1482" y="939"/>
                  <a:pt x="1482" y="1062"/>
                </a:cubicBezTo>
                <a:cubicBezTo>
                  <a:pt x="1482" y="1184"/>
                  <a:pt x="1582" y="1284"/>
                  <a:pt x="1705" y="1284"/>
                </a:cubicBezTo>
                <a:cubicBezTo>
                  <a:pt x="1827" y="1284"/>
                  <a:pt x="1927" y="1184"/>
                  <a:pt x="1927" y="1062"/>
                </a:cubicBezTo>
                <a:cubicBezTo>
                  <a:pt x="1927" y="939"/>
                  <a:pt x="1827" y="839"/>
                  <a:pt x="1705" y="839"/>
                </a:cubicBezTo>
                <a:close/>
                <a:moveTo>
                  <a:pt x="122" y="150"/>
                </a:moveTo>
                <a:lnTo>
                  <a:pt x="122" y="563"/>
                </a:lnTo>
                <a:lnTo>
                  <a:pt x="483" y="357"/>
                </a:lnTo>
                <a:lnTo>
                  <a:pt x="122" y="150"/>
                </a:lnTo>
                <a:close/>
                <a:moveTo>
                  <a:pt x="540" y="389"/>
                </a:moveTo>
                <a:lnTo>
                  <a:pt x="176" y="597"/>
                </a:lnTo>
                <a:lnTo>
                  <a:pt x="903" y="597"/>
                </a:lnTo>
                <a:lnTo>
                  <a:pt x="540" y="389"/>
                </a:lnTo>
                <a:close/>
                <a:moveTo>
                  <a:pt x="179" y="118"/>
                </a:moveTo>
                <a:lnTo>
                  <a:pt x="540" y="324"/>
                </a:lnTo>
                <a:lnTo>
                  <a:pt x="902" y="118"/>
                </a:lnTo>
                <a:lnTo>
                  <a:pt x="179" y="118"/>
                </a:lnTo>
                <a:close/>
                <a:moveTo>
                  <a:pt x="597" y="357"/>
                </a:moveTo>
                <a:lnTo>
                  <a:pt x="959" y="565"/>
                </a:lnTo>
                <a:lnTo>
                  <a:pt x="959" y="150"/>
                </a:lnTo>
                <a:lnTo>
                  <a:pt x="597" y="35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th-TH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03" name="组合 302"/>
          <p:cNvGrpSpPr/>
          <p:nvPr/>
        </p:nvGrpSpPr>
        <p:grpSpPr>
          <a:xfrm>
            <a:off x="2011903" y="4662789"/>
            <a:ext cx="267170" cy="309258"/>
            <a:chOff x="2492490" y="5597612"/>
            <a:chExt cx="546802" cy="648072"/>
          </a:xfrm>
        </p:grpSpPr>
        <p:pic>
          <p:nvPicPr>
            <p:cNvPr id="304" name="66358485" descr="https://frogparking.com/Content/Images/Home/icon-the-sensor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492490" y="5597612"/>
              <a:ext cx="546802" cy="420947"/>
            </a:xfrm>
            <a:prstGeom prst="rect">
              <a:avLst/>
            </a:prstGeom>
            <a:noFill/>
          </p:spPr>
        </p:pic>
        <p:pic>
          <p:nvPicPr>
            <p:cNvPr id="305" name="1164684550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529700" y="5987726"/>
              <a:ext cx="468420" cy="2579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6" name="Freeform 171"/>
          <p:cNvSpPr>
            <a:spLocks/>
          </p:cNvSpPr>
          <p:nvPr/>
        </p:nvSpPr>
        <p:spPr bwMode="auto">
          <a:xfrm>
            <a:off x="2507289" y="4784492"/>
            <a:ext cx="296631" cy="134934"/>
          </a:xfrm>
          <a:custGeom>
            <a:avLst/>
            <a:gdLst/>
            <a:ahLst/>
            <a:cxnLst>
              <a:cxn ang="0">
                <a:pos x="64" y="42"/>
              </a:cxn>
              <a:cxn ang="0">
                <a:pos x="62" y="44"/>
              </a:cxn>
              <a:cxn ang="0">
                <a:pos x="61" y="45"/>
              </a:cxn>
              <a:cxn ang="0">
                <a:pos x="60" y="44"/>
              </a:cxn>
              <a:cxn ang="0">
                <a:pos x="45" y="30"/>
              </a:cxn>
              <a:cxn ang="0">
                <a:pos x="45" y="36"/>
              </a:cxn>
              <a:cxn ang="0">
                <a:pos x="35" y="46"/>
              </a:cxn>
              <a:cxn ang="0">
                <a:pos x="10" y="46"/>
              </a:cxn>
              <a:cxn ang="0">
                <a:pos x="0" y="36"/>
              </a:cxn>
              <a:cxn ang="0">
                <a:pos x="0" y="10"/>
              </a:cxn>
              <a:cxn ang="0">
                <a:pos x="10" y="0"/>
              </a:cxn>
              <a:cxn ang="0">
                <a:pos x="35" y="0"/>
              </a:cxn>
              <a:cxn ang="0">
                <a:pos x="45" y="10"/>
              </a:cxn>
              <a:cxn ang="0">
                <a:pos x="45" y="16"/>
              </a:cxn>
              <a:cxn ang="0">
                <a:pos x="60" y="2"/>
              </a:cxn>
              <a:cxn ang="0">
                <a:pos x="61" y="1"/>
              </a:cxn>
              <a:cxn ang="0">
                <a:pos x="62" y="1"/>
              </a:cxn>
              <a:cxn ang="0">
                <a:pos x="64" y="4"/>
              </a:cxn>
              <a:cxn ang="0">
                <a:pos x="64" y="42"/>
              </a:cxn>
            </a:cxnLst>
            <a:rect l="0" t="0" r="r" b="b"/>
            <a:pathLst>
              <a:path w="64" h="46">
                <a:moveTo>
                  <a:pt x="64" y="42"/>
                </a:moveTo>
                <a:cubicBezTo>
                  <a:pt x="64" y="43"/>
                  <a:pt x="63" y="44"/>
                  <a:pt x="62" y="44"/>
                </a:cubicBezTo>
                <a:cubicBezTo>
                  <a:pt x="62" y="45"/>
                  <a:pt x="62" y="45"/>
                  <a:pt x="61" y="45"/>
                </a:cubicBezTo>
                <a:cubicBezTo>
                  <a:pt x="61" y="45"/>
                  <a:pt x="60" y="44"/>
                  <a:pt x="60" y="44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41"/>
                  <a:pt x="41" y="46"/>
                  <a:pt x="35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4" y="46"/>
                  <a:pt x="0" y="41"/>
                  <a:pt x="0" y="36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41" y="0"/>
                  <a:pt x="45" y="5"/>
                  <a:pt x="45" y="10"/>
                </a:cubicBezTo>
                <a:cubicBezTo>
                  <a:pt x="45" y="16"/>
                  <a:pt x="45" y="16"/>
                  <a:pt x="45" y="16"/>
                </a:cubicBezTo>
                <a:cubicBezTo>
                  <a:pt x="60" y="2"/>
                  <a:pt x="60" y="2"/>
                  <a:pt x="60" y="2"/>
                </a:cubicBezTo>
                <a:cubicBezTo>
                  <a:pt x="60" y="1"/>
                  <a:pt x="61" y="1"/>
                  <a:pt x="61" y="1"/>
                </a:cubicBezTo>
                <a:cubicBezTo>
                  <a:pt x="62" y="1"/>
                  <a:pt x="62" y="1"/>
                  <a:pt x="62" y="1"/>
                </a:cubicBezTo>
                <a:cubicBezTo>
                  <a:pt x="63" y="2"/>
                  <a:pt x="64" y="3"/>
                  <a:pt x="64" y="4"/>
                </a:cubicBezTo>
                <a:lnTo>
                  <a:pt x="64" y="4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" name="Freeform 51"/>
          <p:cNvSpPr>
            <a:spLocks noEditPoints="1"/>
          </p:cNvSpPr>
          <p:nvPr/>
        </p:nvSpPr>
        <p:spPr bwMode="auto">
          <a:xfrm>
            <a:off x="3209923" y="4710106"/>
            <a:ext cx="310965" cy="232089"/>
          </a:xfrm>
          <a:custGeom>
            <a:avLst/>
            <a:gdLst>
              <a:gd name="T0" fmla="*/ 44 w 88"/>
              <a:gd name="T1" fmla="*/ 13 h 105"/>
              <a:gd name="T2" fmla="*/ 53 w 88"/>
              <a:gd name="T3" fmla="*/ 13 h 105"/>
              <a:gd name="T4" fmla="*/ 52 w 88"/>
              <a:gd name="T5" fmla="*/ 11 h 105"/>
              <a:gd name="T6" fmla="*/ 49 w 88"/>
              <a:gd name="T7" fmla="*/ 10 h 105"/>
              <a:gd name="T8" fmla="*/ 39 w 88"/>
              <a:gd name="T9" fmla="*/ 10 h 105"/>
              <a:gd name="T10" fmla="*/ 36 w 88"/>
              <a:gd name="T11" fmla="*/ 11 h 105"/>
              <a:gd name="T12" fmla="*/ 35 w 88"/>
              <a:gd name="T13" fmla="*/ 13 h 105"/>
              <a:gd name="T14" fmla="*/ 35 w 88"/>
              <a:gd name="T15" fmla="*/ 25 h 105"/>
              <a:gd name="T16" fmla="*/ 25 w 88"/>
              <a:gd name="T17" fmla="*/ 25 h 105"/>
              <a:gd name="T18" fmla="*/ 25 w 88"/>
              <a:gd name="T19" fmla="*/ 13 h 105"/>
              <a:gd name="T20" fmla="*/ 29 w 88"/>
              <a:gd name="T21" fmla="*/ 4 h 105"/>
              <a:gd name="T22" fmla="*/ 39 w 88"/>
              <a:gd name="T23" fmla="*/ 0 h 105"/>
              <a:gd name="T24" fmla="*/ 49 w 88"/>
              <a:gd name="T25" fmla="*/ 0 h 105"/>
              <a:gd name="T26" fmla="*/ 59 w 88"/>
              <a:gd name="T27" fmla="*/ 4 h 105"/>
              <a:gd name="T28" fmla="*/ 63 w 88"/>
              <a:gd name="T29" fmla="*/ 13 h 105"/>
              <a:gd name="T30" fmla="*/ 63 w 88"/>
              <a:gd name="T31" fmla="*/ 25 h 105"/>
              <a:gd name="T32" fmla="*/ 53 w 88"/>
              <a:gd name="T33" fmla="*/ 25 h 105"/>
              <a:gd name="T34" fmla="*/ 53 w 88"/>
              <a:gd name="T35" fmla="*/ 23 h 105"/>
              <a:gd name="T36" fmla="*/ 44 w 88"/>
              <a:gd name="T37" fmla="*/ 23 h 105"/>
              <a:gd name="T38" fmla="*/ 39 w 88"/>
              <a:gd name="T39" fmla="*/ 23 h 105"/>
              <a:gd name="T40" fmla="*/ 39 w 88"/>
              <a:gd name="T41" fmla="*/ 13 h 105"/>
              <a:gd name="T42" fmla="*/ 44 w 88"/>
              <a:gd name="T43" fmla="*/ 13 h 105"/>
              <a:gd name="T44" fmla="*/ 19 w 88"/>
              <a:gd name="T45" fmla="*/ 42 h 105"/>
              <a:gd name="T46" fmla="*/ 29 w 88"/>
              <a:gd name="T47" fmla="*/ 43 h 105"/>
              <a:gd name="T48" fmla="*/ 29 w 88"/>
              <a:gd name="T49" fmla="*/ 89 h 105"/>
              <a:gd name="T50" fmla="*/ 21 w 88"/>
              <a:gd name="T51" fmla="*/ 87 h 105"/>
              <a:gd name="T52" fmla="*/ 19 w 88"/>
              <a:gd name="T53" fmla="*/ 42 h 105"/>
              <a:gd name="T54" fmla="*/ 39 w 88"/>
              <a:gd name="T55" fmla="*/ 43 h 105"/>
              <a:gd name="T56" fmla="*/ 50 w 88"/>
              <a:gd name="T57" fmla="*/ 43 h 105"/>
              <a:gd name="T58" fmla="*/ 50 w 88"/>
              <a:gd name="T59" fmla="*/ 90 h 105"/>
              <a:gd name="T60" fmla="*/ 39 w 88"/>
              <a:gd name="T61" fmla="*/ 90 h 105"/>
              <a:gd name="T62" fmla="*/ 39 w 88"/>
              <a:gd name="T63" fmla="*/ 43 h 105"/>
              <a:gd name="T64" fmla="*/ 70 w 88"/>
              <a:gd name="T65" fmla="*/ 42 h 105"/>
              <a:gd name="T66" fmla="*/ 60 w 88"/>
              <a:gd name="T67" fmla="*/ 43 h 105"/>
              <a:gd name="T68" fmla="*/ 59 w 88"/>
              <a:gd name="T69" fmla="*/ 89 h 105"/>
              <a:gd name="T70" fmla="*/ 68 w 88"/>
              <a:gd name="T71" fmla="*/ 87 h 105"/>
              <a:gd name="T72" fmla="*/ 70 w 88"/>
              <a:gd name="T73" fmla="*/ 42 h 105"/>
              <a:gd name="T74" fmla="*/ 5 w 88"/>
              <a:gd name="T75" fmla="*/ 33 h 105"/>
              <a:gd name="T76" fmla="*/ 8 w 88"/>
              <a:gd name="T77" fmla="*/ 87 h 105"/>
              <a:gd name="T78" fmla="*/ 5 w 88"/>
              <a:gd name="T79" fmla="*/ 92 h 105"/>
              <a:gd name="T80" fmla="*/ 19 w 88"/>
              <a:gd name="T81" fmla="*/ 103 h 105"/>
              <a:gd name="T82" fmla="*/ 44 w 88"/>
              <a:gd name="T83" fmla="*/ 105 h 105"/>
              <a:gd name="T84" fmla="*/ 69 w 88"/>
              <a:gd name="T85" fmla="*/ 103 h 105"/>
              <a:gd name="T86" fmla="*/ 84 w 88"/>
              <a:gd name="T87" fmla="*/ 92 h 105"/>
              <a:gd name="T88" fmla="*/ 81 w 88"/>
              <a:gd name="T89" fmla="*/ 87 h 105"/>
              <a:gd name="T90" fmla="*/ 83 w 88"/>
              <a:gd name="T91" fmla="*/ 33 h 105"/>
              <a:gd name="T92" fmla="*/ 88 w 88"/>
              <a:gd name="T93" fmla="*/ 26 h 105"/>
              <a:gd name="T94" fmla="*/ 73 w 88"/>
              <a:gd name="T95" fmla="*/ 15 h 105"/>
              <a:gd name="T96" fmla="*/ 67 w 88"/>
              <a:gd name="T97" fmla="*/ 14 h 105"/>
              <a:gd name="T98" fmla="*/ 67 w 88"/>
              <a:gd name="T99" fmla="*/ 24 h 105"/>
              <a:gd name="T100" fmla="*/ 71 w 88"/>
              <a:gd name="T101" fmla="*/ 25 h 105"/>
              <a:gd name="T102" fmla="*/ 76 w 88"/>
              <a:gd name="T103" fmla="*/ 26 h 105"/>
              <a:gd name="T104" fmla="*/ 71 w 88"/>
              <a:gd name="T105" fmla="*/ 27 h 105"/>
              <a:gd name="T106" fmla="*/ 44 w 88"/>
              <a:gd name="T107" fmla="*/ 30 h 105"/>
              <a:gd name="T108" fmla="*/ 18 w 88"/>
              <a:gd name="T109" fmla="*/ 27 h 105"/>
              <a:gd name="T110" fmla="*/ 13 w 88"/>
              <a:gd name="T111" fmla="*/ 26 h 105"/>
              <a:gd name="T112" fmla="*/ 18 w 88"/>
              <a:gd name="T113" fmla="*/ 25 h 105"/>
              <a:gd name="T114" fmla="*/ 21 w 88"/>
              <a:gd name="T115" fmla="*/ 25 h 105"/>
              <a:gd name="T116" fmla="*/ 21 w 88"/>
              <a:gd name="T117" fmla="*/ 15 h 105"/>
              <a:gd name="T118" fmla="*/ 16 w 88"/>
              <a:gd name="T119" fmla="*/ 15 h 105"/>
              <a:gd name="T120" fmla="*/ 0 w 88"/>
              <a:gd name="T121" fmla="*/ 26 h 105"/>
              <a:gd name="T122" fmla="*/ 5 w 88"/>
              <a:gd name="T123" fmla="*/ 3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8" h="105">
                <a:moveTo>
                  <a:pt x="44" y="13"/>
                </a:moveTo>
                <a:cubicBezTo>
                  <a:pt x="47" y="13"/>
                  <a:pt x="50" y="13"/>
                  <a:pt x="53" y="13"/>
                </a:cubicBezTo>
                <a:cubicBezTo>
                  <a:pt x="53" y="12"/>
                  <a:pt x="52" y="11"/>
                  <a:pt x="52" y="11"/>
                </a:cubicBezTo>
                <a:cubicBezTo>
                  <a:pt x="51" y="10"/>
                  <a:pt x="50" y="10"/>
                  <a:pt x="49" y="10"/>
                </a:cubicBezTo>
                <a:cubicBezTo>
                  <a:pt x="39" y="10"/>
                  <a:pt x="39" y="10"/>
                  <a:pt x="39" y="10"/>
                </a:cubicBezTo>
                <a:cubicBezTo>
                  <a:pt x="38" y="10"/>
                  <a:pt x="37" y="10"/>
                  <a:pt x="36" y="11"/>
                </a:cubicBezTo>
                <a:cubicBezTo>
                  <a:pt x="35" y="11"/>
                  <a:pt x="35" y="12"/>
                  <a:pt x="35" y="13"/>
                </a:cubicBezTo>
                <a:cubicBezTo>
                  <a:pt x="35" y="25"/>
                  <a:pt x="35" y="25"/>
                  <a:pt x="35" y="25"/>
                </a:cubicBezTo>
                <a:cubicBezTo>
                  <a:pt x="25" y="25"/>
                  <a:pt x="25" y="25"/>
                  <a:pt x="25" y="25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9"/>
                  <a:pt x="27" y="6"/>
                  <a:pt x="29" y="4"/>
                </a:cubicBezTo>
                <a:cubicBezTo>
                  <a:pt x="32" y="1"/>
                  <a:pt x="35" y="0"/>
                  <a:pt x="39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53" y="0"/>
                  <a:pt x="56" y="1"/>
                  <a:pt x="59" y="4"/>
                </a:cubicBezTo>
                <a:cubicBezTo>
                  <a:pt x="61" y="6"/>
                  <a:pt x="63" y="9"/>
                  <a:pt x="63" y="13"/>
                </a:cubicBezTo>
                <a:cubicBezTo>
                  <a:pt x="63" y="25"/>
                  <a:pt x="63" y="25"/>
                  <a:pt x="63" y="25"/>
                </a:cubicBezTo>
                <a:cubicBezTo>
                  <a:pt x="53" y="25"/>
                  <a:pt x="53" y="25"/>
                  <a:pt x="53" y="25"/>
                </a:cubicBezTo>
                <a:cubicBezTo>
                  <a:pt x="53" y="23"/>
                  <a:pt x="53" y="23"/>
                  <a:pt x="53" y="23"/>
                </a:cubicBezTo>
                <a:cubicBezTo>
                  <a:pt x="50" y="23"/>
                  <a:pt x="47" y="23"/>
                  <a:pt x="44" y="23"/>
                </a:cubicBezTo>
                <a:cubicBezTo>
                  <a:pt x="42" y="23"/>
                  <a:pt x="41" y="23"/>
                  <a:pt x="39" y="23"/>
                </a:cubicBezTo>
                <a:cubicBezTo>
                  <a:pt x="39" y="13"/>
                  <a:pt x="39" y="13"/>
                  <a:pt x="39" y="13"/>
                </a:cubicBezTo>
                <a:cubicBezTo>
                  <a:pt x="41" y="13"/>
                  <a:pt x="42" y="13"/>
                  <a:pt x="44" y="13"/>
                </a:cubicBezTo>
                <a:close/>
                <a:moveTo>
                  <a:pt x="19" y="42"/>
                </a:moveTo>
                <a:cubicBezTo>
                  <a:pt x="29" y="43"/>
                  <a:pt x="29" y="43"/>
                  <a:pt x="29" y="43"/>
                </a:cubicBezTo>
                <a:cubicBezTo>
                  <a:pt x="29" y="89"/>
                  <a:pt x="29" y="89"/>
                  <a:pt x="29" y="89"/>
                </a:cubicBezTo>
                <a:cubicBezTo>
                  <a:pt x="21" y="87"/>
                  <a:pt x="21" y="87"/>
                  <a:pt x="21" y="87"/>
                </a:cubicBezTo>
                <a:cubicBezTo>
                  <a:pt x="19" y="42"/>
                  <a:pt x="19" y="42"/>
                  <a:pt x="19" y="42"/>
                </a:cubicBezTo>
                <a:close/>
                <a:moveTo>
                  <a:pt x="39" y="43"/>
                </a:moveTo>
                <a:cubicBezTo>
                  <a:pt x="50" y="43"/>
                  <a:pt x="50" y="43"/>
                  <a:pt x="50" y="43"/>
                </a:cubicBezTo>
                <a:cubicBezTo>
                  <a:pt x="50" y="90"/>
                  <a:pt x="50" y="90"/>
                  <a:pt x="50" y="90"/>
                </a:cubicBezTo>
                <a:cubicBezTo>
                  <a:pt x="39" y="90"/>
                  <a:pt x="39" y="90"/>
                  <a:pt x="39" y="90"/>
                </a:cubicBezTo>
                <a:cubicBezTo>
                  <a:pt x="39" y="43"/>
                  <a:pt x="39" y="43"/>
                  <a:pt x="39" y="43"/>
                </a:cubicBezTo>
                <a:close/>
                <a:moveTo>
                  <a:pt x="70" y="42"/>
                </a:moveTo>
                <a:cubicBezTo>
                  <a:pt x="60" y="43"/>
                  <a:pt x="60" y="43"/>
                  <a:pt x="60" y="43"/>
                </a:cubicBezTo>
                <a:cubicBezTo>
                  <a:pt x="59" y="89"/>
                  <a:pt x="59" y="89"/>
                  <a:pt x="59" y="89"/>
                </a:cubicBezTo>
                <a:cubicBezTo>
                  <a:pt x="68" y="87"/>
                  <a:pt x="68" y="87"/>
                  <a:pt x="68" y="87"/>
                </a:cubicBezTo>
                <a:cubicBezTo>
                  <a:pt x="70" y="42"/>
                  <a:pt x="70" y="42"/>
                  <a:pt x="70" y="42"/>
                </a:cubicBezTo>
                <a:close/>
                <a:moveTo>
                  <a:pt x="5" y="33"/>
                </a:moveTo>
                <a:cubicBezTo>
                  <a:pt x="8" y="87"/>
                  <a:pt x="8" y="87"/>
                  <a:pt x="8" y="87"/>
                </a:cubicBezTo>
                <a:cubicBezTo>
                  <a:pt x="6" y="88"/>
                  <a:pt x="5" y="90"/>
                  <a:pt x="5" y="92"/>
                </a:cubicBezTo>
                <a:cubicBezTo>
                  <a:pt x="5" y="97"/>
                  <a:pt x="10" y="101"/>
                  <a:pt x="19" y="103"/>
                </a:cubicBezTo>
                <a:cubicBezTo>
                  <a:pt x="25" y="104"/>
                  <a:pt x="34" y="105"/>
                  <a:pt x="44" y="105"/>
                </a:cubicBezTo>
                <a:cubicBezTo>
                  <a:pt x="54" y="105"/>
                  <a:pt x="63" y="104"/>
                  <a:pt x="69" y="103"/>
                </a:cubicBezTo>
                <a:cubicBezTo>
                  <a:pt x="78" y="101"/>
                  <a:pt x="84" y="97"/>
                  <a:pt x="84" y="92"/>
                </a:cubicBezTo>
                <a:cubicBezTo>
                  <a:pt x="84" y="90"/>
                  <a:pt x="82" y="88"/>
                  <a:pt x="81" y="87"/>
                </a:cubicBezTo>
                <a:cubicBezTo>
                  <a:pt x="83" y="33"/>
                  <a:pt x="83" y="33"/>
                  <a:pt x="83" y="33"/>
                </a:cubicBezTo>
                <a:cubicBezTo>
                  <a:pt x="86" y="31"/>
                  <a:pt x="88" y="29"/>
                  <a:pt x="88" y="26"/>
                </a:cubicBezTo>
                <a:cubicBezTo>
                  <a:pt x="88" y="21"/>
                  <a:pt x="82" y="17"/>
                  <a:pt x="73" y="15"/>
                </a:cubicBezTo>
                <a:cubicBezTo>
                  <a:pt x="71" y="15"/>
                  <a:pt x="69" y="15"/>
                  <a:pt x="67" y="14"/>
                </a:cubicBezTo>
                <a:cubicBezTo>
                  <a:pt x="67" y="24"/>
                  <a:pt x="67" y="24"/>
                  <a:pt x="67" y="24"/>
                </a:cubicBezTo>
                <a:cubicBezTo>
                  <a:pt x="68" y="24"/>
                  <a:pt x="69" y="25"/>
                  <a:pt x="71" y="25"/>
                </a:cubicBezTo>
                <a:cubicBezTo>
                  <a:pt x="75" y="26"/>
                  <a:pt x="76" y="26"/>
                  <a:pt x="76" y="26"/>
                </a:cubicBezTo>
                <a:cubicBezTo>
                  <a:pt x="76" y="26"/>
                  <a:pt x="75" y="26"/>
                  <a:pt x="71" y="27"/>
                </a:cubicBezTo>
                <a:cubicBezTo>
                  <a:pt x="64" y="29"/>
                  <a:pt x="54" y="30"/>
                  <a:pt x="44" y="30"/>
                </a:cubicBezTo>
                <a:cubicBezTo>
                  <a:pt x="34" y="30"/>
                  <a:pt x="24" y="29"/>
                  <a:pt x="18" y="27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26"/>
                  <a:pt x="13" y="26"/>
                  <a:pt x="18" y="25"/>
                </a:cubicBezTo>
                <a:cubicBezTo>
                  <a:pt x="19" y="25"/>
                  <a:pt x="19" y="25"/>
                  <a:pt x="21" y="25"/>
                </a:cubicBezTo>
                <a:cubicBezTo>
                  <a:pt x="21" y="15"/>
                  <a:pt x="21" y="15"/>
                  <a:pt x="21" y="15"/>
                </a:cubicBezTo>
                <a:cubicBezTo>
                  <a:pt x="18" y="15"/>
                  <a:pt x="18" y="15"/>
                  <a:pt x="16" y="15"/>
                </a:cubicBezTo>
                <a:cubicBezTo>
                  <a:pt x="6" y="17"/>
                  <a:pt x="0" y="21"/>
                  <a:pt x="0" y="26"/>
                </a:cubicBezTo>
                <a:cubicBezTo>
                  <a:pt x="0" y="29"/>
                  <a:pt x="2" y="31"/>
                  <a:pt x="5" y="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8" name="Freeform 47"/>
          <p:cNvSpPr>
            <a:spLocks noEditPoints="1"/>
          </p:cNvSpPr>
          <p:nvPr/>
        </p:nvSpPr>
        <p:spPr bwMode="auto">
          <a:xfrm>
            <a:off x="6813008" y="2701071"/>
            <a:ext cx="586892" cy="702940"/>
          </a:xfrm>
          <a:custGeom>
            <a:avLst/>
            <a:gdLst>
              <a:gd name="T0" fmla="*/ 52 w 102"/>
              <a:gd name="T1" fmla="*/ 0 h 111"/>
              <a:gd name="T2" fmla="*/ 41 w 102"/>
              <a:gd name="T3" fmla="*/ 11 h 111"/>
              <a:gd name="T4" fmla="*/ 52 w 102"/>
              <a:gd name="T5" fmla="*/ 22 h 111"/>
              <a:gd name="T6" fmla="*/ 63 w 102"/>
              <a:gd name="T7" fmla="*/ 11 h 111"/>
              <a:gd name="T8" fmla="*/ 52 w 102"/>
              <a:gd name="T9" fmla="*/ 0 h 111"/>
              <a:gd name="T10" fmla="*/ 6 w 102"/>
              <a:gd name="T11" fmla="*/ 81 h 111"/>
              <a:gd name="T12" fmla="*/ 14 w 102"/>
              <a:gd name="T13" fmla="*/ 77 h 111"/>
              <a:gd name="T14" fmla="*/ 36 w 102"/>
              <a:gd name="T15" fmla="*/ 88 h 111"/>
              <a:gd name="T16" fmla="*/ 31 w 102"/>
              <a:gd name="T17" fmla="*/ 92 h 111"/>
              <a:gd name="T18" fmla="*/ 31 w 102"/>
              <a:gd name="T19" fmla="*/ 93 h 111"/>
              <a:gd name="T20" fmla="*/ 13 w 102"/>
              <a:gd name="T21" fmla="*/ 101 h 111"/>
              <a:gd name="T22" fmla="*/ 6 w 102"/>
              <a:gd name="T23" fmla="*/ 98 h 111"/>
              <a:gd name="T24" fmla="*/ 0 w 102"/>
              <a:gd name="T25" fmla="*/ 111 h 111"/>
              <a:gd name="T26" fmla="*/ 33 w 102"/>
              <a:gd name="T27" fmla="*/ 111 h 111"/>
              <a:gd name="T28" fmla="*/ 24 w 102"/>
              <a:gd name="T29" fmla="*/ 106 h 111"/>
              <a:gd name="T30" fmla="*/ 41 w 102"/>
              <a:gd name="T31" fmla="*/ 98 h 111"/>
              <a:gd name="T32" fmla="*/ 52 w 102"/>
              <a:gd name="T33" fmla="*/ 99 h 111"/>
              <a:gd name="T34" fmla="*/ 60 w 102"/>
              <a:gd name="T35" fmla="*/ 98 h 111"/>
              <a:gd name="T36" fmla="*/ 77 w 102"/>
              <a:gd name="T37" fmla="*/ 106 h 111"/>
              <a:gd name="T38" fmla="*/ 67 w 102"/>
              <a:gd name="T39" fmla="*/ 111 h 111"/>
              <a:gd name="T40" fmla="*/ 101 w 102"/>
              <a:gd name="T41" fmla="*/ 111 h 111"/>
              <a:gd name="T42" fmla="*/ 94 w 102"/>
              <a:gd name="T43" fmla="*/ 98 h 111"/>
              <a:gd name="T44" fmla="*/ 87 w 102"/>
              <a:gd name="T45" fmla="*/ 101 h 111"/>
              <a:gd name="T46" fmla="*/ 71 w 102"/>
              <a:gd name="T47" fmla="*/ 94 h 111"/>
              <a:gd name="T48" fmla="*/ 72 w 102"/>
              <a:gd name="T49" fmla="*/ 92 h 111"/>
              <a:gd name="T50" fmla="*/ 66 w 102"/>
              <a:gd name="T51" fmla="*/ 87 h 111"/>
              <a:gd name="T52" fmla="*/ 88 w 102"/>
              <a:gd name="T53" fmla="*/ 77 h 111"/>
              <a:gd name="T54" fmla="*/ 96 w 102"/>
              <a:gd name="T55" fmla="*/ 81 h 111"/>
              <a:gd name="T56" fmla="*/ 102 w 102"/>
              <a:gd name="T57" fmla="*/ 67 h 111"/>
              <a:gd name="T58" fmla="*/ 68 w 102"/>
              <a:gd name="T59" fmla="*/ 67 h 111"/>
              <a:gd name="T60" fmla="*/ 78 w 102"/>
              <a:gd name="T61" fmla="*/ 72 h 111"/>
              <a:gd name="T62" fmla="*/ 65 w 102"/>
              <a:gd name="T63" fmla="*/ 79 h 111"/>
              <a:gd name="T64" fmla="*/ 64 w 102"/>
              <a:gd name="T65" fmla="*/ 58 h 111"/>
              <a:gd name="T66" fmla="*/ 71 w 102"/>
              <a:gd name="T67" fmla="*/ 53 h 111"/>
              <a:gd name="T68" fmla="*/ 65 w 102"/>
              <a:gd name="T69" fmla="*/ 24 h 111"/>
              <a:gd name="T70" fmla="*/ 53 w 102"/>
              <a:gd name="T71" fmla="*/ 24 h 111"/>
              <a:gd name="T72" fmla="*/ 54 w 102"/>
              <a:gd name="T73" fmla="*/ 26 h 111"/>
              <a:gd name="T74" fmla="*/ 53 w 102"/>
              <a:gd name="T75" fmla="*/ 28 h 111"/>
              <a:gd name="T76" fmla="*/ 56 w 102"/>
              <a:gd name="T77" fmla="*/ 46 h 111"/>
              <a:gd name="T78" fmla="*/ 52 w 102"/>
              <a:gd name="T79" fmla="*/ 50 h 111"/>
              <a:gd name="T80" fmla="*/ 52 w 102"/>
              <a:gd name="T81" fmla="*/ 50 h 111"/>
              <a:gd name="T82" fmla="*/ 52 w 102"/>
              <a:gd name="T83" fmla="*/ 50 h 111"/>
              <a:gd name="T84" fmla="*/ 52 w 102"/>
              <a:gd name="T85" fmla="*/ 50 h 111"/>
              <a:gd name="T86" fmla="*/ 52 w 102"/>
              <a:gd name="T87" fmla="*/ 50 h 111"/>
              <a:gd name="T88" fmla="*/ 48 w 102"/>
              <a:gd name="T89" fmla="*/ 46 h 111"/>
              <a:gd name="T90" fmla="*/ 50 w 102"/>
              <a:gd name="T91" fmla="*/ 28 h 111"/>
              <a:gd name="T92" fmla="*/ 49 w 102"/>
              <a:gd name="T93" fmla="*/ 26 h 111"/>
              <a:gd name="T94" fmla="*/ 50 w 102"/>
              <a:gd name="T95" fmla="*/ 24 h 111"/>
              <a:gd name="T96" fmla="*/ 38 w 102"/>
              <a:gd name="T97" fmla="*/ 24 h 111"/>
              <a:gd name="T98" fmla="*/ 33 w 102"/>
              <a:gd name="T99" fmla="*/ 53 h 111"/>
              <a:gd name="T100" fmla="*/ 40 w 102"/>
              <a:gd name="T101" fmla="*/ 58 h 111"/>
              <a:gd name="T102" fmla="*/ 39 w 102"/>
              <a:gd name="T103" fmla="*/ 79 h 111"/>
              <a:gd name="T104" fmla="*/ 24 w 102"/>
              <a:gd name="T105" fmla="*/ 72 h 111"/>
              <a:gd name="T106" fmla="*/ 34 w 102"/>
              <a:gd name="T107" fmla="*/ 67 h 111"/>
              <a:gd name="T108" fmla="*/ 0 w 102"/>
              <a:gd name="T109" fmla="*/ 67 h 111"/>
              <a:gd name="T110" fmla="*/ 6 w 102"/>
              <a:gd name="T111" fmla="*/ 81 h 111"/>
              <a:gd name="T112" fmla="*/ 52 w 102"/>
              <a:gd name="T113" fmla="*/ 85 h 111"/>
              <a:gd name="T114" fmla="*/ 48 w 102"/>
              <a:gd name="T115" fmla="*/ 85 h 111"/>
              <a:gd name="T116" fmla="*/ 50 w 102"/>
              <a:gd name="T117" fmla="*/ 64 h 111"/>
              <a:gd name="T118" fmla="*/ 54 w 102"/>
              <a:gd name="T119" fmla="*/ 64 h 111"/>
              <a:gd name="T120" fmla="*/ 55 w 102"/>
              <a:gd name="T121" fmla="*/ 85 h 111"/>
              <a:gd name="T122" fmla="*/ 52 w 102"/>
              <a:gd name="T123" fmla="*/ 85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2" h="111">
                <a:moveTo>
                  <a:pt x="52" y="0"/>
                </a:moveTo>
                <a:cubicBezTo>
                  <a:pt x="46" y="0"/>
                  <a:pt x="41" y="5"/>
                  <a:pt x="41" y="11"/>
                </a:cubicBezTo>
                <a:cubicBezTo>
                  <a:pt x="41" y="17"/>
                  <a:pt x="46" y="22"/>
                  <a:pt x="52" y="22"/>
                </a:cubicBezTo>
                <a:cubicBezTo>
                  <a:pt x="58" y="22"/>
                  <a:pt x="63" y="17"/>
                  <a:pt x="63" y="11"/>
                </a:cubicBezTo>
                <a:cubicBezTo>
                  <a:pt x="63" y="5"/>
                  <a:pt x="58" y="0"/>
                  <a:pt x="52" y="0"/>
                </a:cubicBezTo>
                <a:close/>
                <a:moveTo>
                  <a:pt x="6" y="81"/>
                </a:moveTo>
                <a:cubicBezTo>
                  <a:pt x="14" y="77"/>
                  <a:pt x="14" y="77"/>
                  <a:pt x="14" y="77"/>
                </a:cubicBezTo>
                <a:cubicBezTo>
                  <a:pt x="36" y="88"/>
                  <a:pt x="36" y="88"/>
                  <a:pt x="36" y="88"/>
                </a:cubicBezTo>
                <a:cubicBezTo>
                  <a:pt x="33" y="89"/>
                  <a:pt x="31" y="90"/>
                  <a:pt x="31" y="92"/>
                </a:cubicBezTo>
                <a:cubicBezTo>
                  <a:pt x="31" y="93"/>
                  <a:pt x="31" y="93"/>
                  <a:pt x="31" y="93"/>
                </a:cubicBezTo>
                <a:cubicBezTo>
                  <a:pt x="13" y="101"/>
                  <a:pt x="13" y="101"/>
                  <a:pt x="13" y="101"/>
                </a:cubicBezTo>
                <a:cubicBezTo>
                  <a:pt x="6" y="98"/>
                  <a:pt x="6" y="98"/>
                  <a:pt x="6" y="98"/>
                </a:cubicBezTo>
                <a:cubicBezTo>
                  <a:pt x="0" y="111"/>
                  <a:pt x="0" y="111"/>
                  <a:pt x="0" y="111"/>
                </a:cubicBezTo>
                <a:cubicBezTo>
                  <a:pt x="33" y="111"/>
                  <a:pt x="33" y="111"/>
                  <a:pt x="33" y="111"/>
                </a:cubicBezTo>
                <a:cubicBezTo>
                  <a:pt x="24" y="106"/>
                  <a:pt x="24" y="106"/>
                  <a:pt x="24" y="106"/>
                </a:cubicBezTo>
                <a:cubicBezTo>
                  <a:pt x="41" y="98"/>
                  <a:pt x="41" y="98"/>
                  <a:pt x="41" y="98"/>
                </a:cubicBezTo>
                <a:cubicBezTo>
                  <a:pt x="44" y="99"/>
                  <a:pt x="48" y="99"/>
                  <a:pt x="52" y="99"/>
                </a:cubicBezTo>
                <a:cubicBezTo>
                  <a:pt x="55" y="99"/>
                  <a:pt x="58" y="99"/>
                  <a:pt x="60" y="98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94" y="98"/>
                  <a:pt x="94" y="98"/>
                  <a:pt x="94" y="9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71" y="94"/>
                  <a:pt x="71" y="94"/>
                  <a:pt x="71" y="94"/>
                </a:cubicBezTo>
                <a:cubicBezTo>
                  <a:pt x="72" y="94"/>
                  <a:pt x="72" y="93"/>
                  <a:pt x="72" y="92"/>
                </a:cubicBezTo>
                <a:cubicBezTo>
                  <a:pt x="72" y="90"/>
                  <a:pt x="70" y="89"/>
                  <a:pt x="66" y="87"/>
                </a:cubicBezTo>
                <a:cubicBezTo>
                  <a:pt x="88" y="77"/>
                  <a:pt x="88" y="77"/>
                  <a:pt x="88" y="77"/>
                </a:cubicBezTo>
                <a:cubicBezTo>
                  <a:pt x="96" y="81"/>
                  <a:pt x="96" y="81"/>
                  <a:pt x="96" y="81"/>
                </a:cubicBezTo>
                <a:cubicBezTo>
                  <a:pt x="102" y="67"/>
                  <a:pt x="102" y="67"/>
                  <a:pt x="102" y="67"/>
                </a:cubicBezTo>
                <a:cubicBezTo>
                  <a:pt x="68" y="67"/>
                  <a:pt x="68" y="67"/>
                  <a:pt x="68" y="67"/>
                </a:cubicBezTo>
                <a:cubicBezTo>
                  <a:pt x="78" y="72"/>
                  <a:pt x="78" y="72"/>
                  <a:pt x="78" y="72"/>
                </a:cubicBezTo>
                <a:cubicBezTo>
                  <a:pt x="65" y="79"/>
                  <a:pt x="65" y="79"/>
                  <a:pt x="65" y="79"/>
                </a:cubicBezTo>
                <a:cubicBezTo>
                  <a:pt x="64" y="58"/>
                  <a:pt x="64" y="58"/>
                  <a:pt x="64" y="58"/>
                </a:cubicBezTo>
                <a:cubicBezTo>
                  <a:pt x="71" y="53"/>
                  <a:pt x="71" y="53"/>
                  <a:pt x="71" y="53"/>
                </a:cubicBezTo>
                <a:cubicBezTo>
                  <a:pt x="65" y="24"/>
                  <a:pt x="65" y="24"/>
                  <a:pt x="65" y="24"/>
                </a:cubicBezTo>
                <a:cubicBezTo>
                  <a:pt x="53" y="24"/>
                  <a:pt x="53" y="24"/>
                  <a:pt x="53" y="24"/>
                </a:cubicBezTo>
                <a:cubicBezTo>
                  <a:pt x="54" y="26"/>
                  <a:pt x="54" y="26"/>
                  <a:pt x="54" y="26"/>
                </a:cubicBezTo>
                <a:cubicBezTo>
                  <a:pt x="53" y="28"/>
                  <a:pt x="53" y="28"/>
                  <a:pt x="53" y="28"/>
                </a:cubicBezTo>
                <a:cubicBezTo>
                  <a:pt x="56" y="46"/>
                  <a:pt x="56" y="46"/>
                  <a:pt x="56" y="46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50"/>
                  <a:pt x="52" y="50"/>
                  <a:pt x="52" y="50"/>
                </a:cubicBezTo>
                <a:cubicBezTo>
                  <a:pt x="48" y="46"/>
                  <a:pt x="48" y="46"/>
                  <a:pt x="48" y="46"/>
                </a:cubicBezTo>
                <a:cubicBezTo>
                  <a:pt x="50" y="28"/>
                  <a:pt x="50" y="28"/>
                  <a:pt x="50" y="28"/>
                </a:cubicBezTo>
                <a:cubicBezTo>
                  <a:pt x="49" y="26"/>
                  <a:pt x="49" y="26"/>
                  <a:pt x="49" y="26"/>
                </a:cubicBezTo>
                <a:cubicBezTo>
                  <a:pt x="50" y="24"/>
                  <a:pt x="50" y="24"/>
                  <a:pt x="50" y="24"/>
                </a:cubicBezTo>
                <a:cubicBezTo>
                  <a:pt x="38" y="24"/>
                  <a:pt x="38" y="24"/>
                  <a:pt x="38" y="24"/>
                </a:cubicBezTo>
                <a:cubicBezTo>
                  <a:pt x="33" y="53"/>
                  <a:pt x="33" y="53"/>
                  <a:pt x="33" y="53"/>
                </a:cubicBezTo>
                <a:cubicBezTo>
                  <a:pt x="40" y="58"/>
                  <a:pt x="40" y="58"/>
                  <a:pt x="40" y="58"/>
                </a:cubicBezTo>
                <a:cubicBezTo>
                  <a:pt x="39" y="79"/>
                  <a:pt x="39" y="79"/>
                  <a:pt x="39" y="79"/>
                </a:cubicBezTo>
                <a:cubicBezTo>
                  <a:pt x="24" y="72"/>
                  <a:pt x="24" y="72"/>
                  <a:pt x="24" y="72"/>
                </a:cubicBezTo>
                <a:cubicBezTo>
                  <a:pt x="34" y="67"/>
                  <a:pt x="34" y="67"/>
                  <a:pt x="34" y="67"/>
                </a:cubicBezTo>
                <a:cubicBezTo>
                  <a:pt x="0" y="67"/>
                  <a:pt x="0" y="67"/>
                  <a:pt x="0" y="67"/>
                </a:cubicBezTo>
                <a:cubicBezTo>
                  <a:pt x="6" y="81"/>
                  <a:pt x="6" y="81"/>
                  <a:pt x="6" y="81"/>
                </a:cubicBezTo>
                <a:close/>
                <a:moveTo>
                  <a:pt x="52" y="85"/>
                </a:moveTo>
                <a:cubicBezTo>
                  <a:pt x="50" y="85"/>
                  <a:pt x="49" y="85"/>
                  <a:pt x="48" y="85"/>
                </a:cubicBezTo>
                <a:cubicBezTo>
                  <a:pt x="50" y="64"/>
                  <a:pt x="50" y="64"/>
                  <a:pt x="50" y="64"/>
                </a:cubicBezTo>
                <a:cubicBezTo>
                  <a:pt x="54" y="64"/>
                  <a:pt x="54" y="64"/>
                  <a:pt x="54" y="64"/>
                </a:cubicBezTo>
                <a:cubicBezTo>
                  <a:pt x="55" y="85"/>
                  <a:pt x="55" y="85"/>
                  <a:pt x="55" y="85"/>
                </a:cubicBezTo>
                <a:cubicBezTo>
                  <a:pt x="54" y="85"/>
                  <a:pt x="53" y="85"/>
                  <a:pt x="52" y="85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9" name="矩形 308"/>
          <p:cNvSpPr/>
          <p:nvPr/>
        </p:nvSpPr>
        <p:spPr>
          <a:xfrm>
            <a:off x="4850593" y="4068987"/>
            <a:ext cx="98777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en-US" altLang="zh-CN" sz="135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CT</a:t>
            </a:r>
            <a:r>
              <a:rPr lang="zh-CN" altLang="en-US" sz="135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工程师</a:t>
            </a:r>
          </a:p>
        </p:txBody>
      </p:sp>
      <p:sp>
        <p:nvSpPr>
          <p:cNvPr id="310" name="矩形 309"/>
          <p:cNvSpPr/>
          <p:nvPr/>
        </p:nvSpPr>
        <p:spPr>
          <a:xfrm>
            <a:off x="4114801" y="2154620"/>
            <a:ext cx="17817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12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应用运营人员</a:t>
            </a:r>
          </a:p>
        </p:txBody>
      </p:sp>
      <p:sp>
        <p:nvSpPr>
          <p:cNvPr id="311" name="Freeform 46"/>
          <p:cNvSpPr>
            <a:spLocks noEditPoints="1"/>
          </p:cNvSpPr>
          <p:nvPr/>
        </p:nvSpPr>
        <p:spPr bwMode="auto">
          <a:xfrm>
            <a:off x="4762703" y="1729215"/>
            <a:ext cx="557220" cy="419444"/>
          </a:xfrm>
          <a:custGeom>
            <a:avLst/>
            <a:gdLst>
              <a:gd name="T0" fmla="*/ 8 w 97"/>
              <a:gd name="T1" fmla="*/ 10 h 91"/>
              <a:gd name="T2" fmla="*/ 28 w 97"/>
              <a:gd name="T3" fmla="*/ 10 h 91"/>
              <a:gd name="T4" fmla="*/ 41 w 97"/>
              <a:gd name="T5" fmla="*/ 45 h 91"/>
              <a:gd name="T6" fmla="*/ 51 w 97"/>
              <a:gd name="T7" fmla="*/ 41 h 91"/>
              <a:gd name="T8" fmla="*/ 59 w 97"/>
              <a:gd name="T9" fmla="*/ 46 h 91"/>
              <a:gd name="T10" fmla="*/ 66 w 97"/>
              <a:gd name="T11" fmla="*/ 27 h 91"/>
              <a:gd name="T12" fmla="*/ 73 w 97"/>
              <a:gd name="T13" fmla="*/ 34 h 91"/>
              <a:gd name="T14" fmla="*/ 83 w 97"/>
              <a:gd name="T15" fmla="*/ 23 h 91"/>
              <a:gd name="T16" fmla="*/ 73 w 97"/>
              <a:gd name="T17" fmla="*/ 40 h 91"/>
              <a:gd name="T18" fmla="*/ 67 w 97"/>
              <a:gd name="T19" fmla="*/ 33 h 91"/>
              <a:gd name="T20" fmla="*/ 61 w 97"/>
              <a:gd name="T21" fmla="*/ 51 h 91"/>
              <a:gd name="T22" fmla="*/ 51 w 97"/>
              <a:gd name="T23" fmla="*/ 45 h 91"/>
              <a:gd name="T24" fmla="*/ 41 w 97"/>
              <a:gd name="T25" fmla="*/ 45 h 91"/>
              <a:gd name="T26" fmla="*/ 74 w 97"/>
              <a:gd name="T27" fmla="*/ 86 h 91"/>
              <a:gd name="T28" fmla="*/ 43 w 97"/>
              <a:gd name="T29" fmla="*/ 91 h 91"/>
              <a:gd name="T30" fmla="*/ 63 w 97"/>
              <a:gd name="T31" fmla="*/ 68 h 91"/>
              <a:gd name="T32" fmla="*/ 97 w 97"/>
              <a:gd name="T33" fmla="*/ 68 h 91"/>
              <a:gd name="T34" fmla="*/ 97 w 97"/>
              <a:gd name="T35" fmla="*/ 6 h 91"/>
              <a:gd name="T36" fmla="*/ 93 w 97"/>
              <a:gd name="T37" fmla="*/ 3 h 91"/>
              <a:gd name="T38" fmla="*/ 34 w 97"/>
              <a:gd name="T39" fmla="*/ 9 h 91"/>
              <a:gd name="T40" fmla="*/ 90 w 97"/>
              <a:gd name="T41" fmla="*/ 61 h 91"/>
              <a:gd name="T42" fmla="*/ 36 w 97"/>
              <a:gd name="T43" fmla="*/ 68 h 91"/>
              <a:gd name="T44" fmla="*/ 54 w 97"/>
              <a:gd name="T45" fmla="*/ 84 h 91"/>
              <a:gd name="T46" fmla="*/ 63 w 97"/>
              <a:gd name="T47" fmla="*/ 68 h 91"/>
              <a:gd name="T48" fmla="*/ 7 w 97"/>
              <a:gd name="T49" fmla="*/ 55 h 91"/>
              <a:gd name="T50" fmla="*/ 14 w 97"/>
              <a:gd name="T51" fmla="*/ 91 h 91"/>
              <a:gd name="T52" fmla="*/ 20 w 97"/>
              <a:gd name="T53" fmla="*/ 60 h 91"/>
              <a:gd name="T54" fmla="*/ 31 w 97"/>
              <a:gd name="T55" fmla="*/ 91 h 91"/>
              <a:gd name="T56" fmla="*/ 28 w 97"/>
              <a:gd name="T57" fmla="*/ 33 h 91"/>
              <a:gd name="T58" fmla="*/ 55 w 97"/>
              <a:gd name="T59" fmla="*/ 24 h 91"/>
              <a:gd name="T60" fmla="*/ 20 w 97"/>
              <a:gd name="T61" fmla="*/ 23 h 91"/>
              <a:gd name="T62" fmla="*/ 19 w 97"/>
              <a:gd name="T63" fmla="*/ 27 h 91"/>
              <a:gd name="T64" fmla="*/ 18 w 97"/>
              <a:gd name="T65" fmla="*/ 47 h 91"/>
              <a:gd name="T66" fmla="*/ 18 w 97"/>
              <a:gd name="T67" fmla="*/ 47 h 91"/>
              <a:gd name="T68" fmla="*/ 18 w 97"/>
              <a:gd name="T69" fmla="*/ 47 h 91"/>
              <a:gd name="T70" fmla="*/ 16 w 97"/>
              <a:gd name="T71" fmla="*/ 27 h 91"/>
              <a:gd name="T72" fmla="*/ 16 w 97"/>
              <a:gd name="T73" fmla="*/ 23 h 91"/>
              <a:gd name="T74" fmla="*/ 0 w 97"/>
              <a:gd name="T75" fmla="*/ 5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" h="91">
                <a:moveTo>
                  <a:pt x="18" y="0"/>
                </a:moveTo>
                <a:cubicBezTo>
                  <a:pt x="12" y="0"/>
                  <a:pt x="8" y="4"/>
                  <a:pt x="8" y="10"/>
                </a:cubicBezTo>
                <a:cubicBezTo>
                  <a:pt x="8" y="16"/>
                  <a:pt x="12" y="20"/>
                  <a:pt x="18" y="20"/>
                </a:cubicBezTo>
                <a:cubicBezTo>
                  <a:pt x="24" y="20"/>
                  <a:pt x="28" y="16"/>
                  <a:pt x="28" y="10"/>
                </a:cubicBezTo>
                <a:cubicBezTo>
                  <a:pt x="28" y="4"/>
                  <a:pt x="24" y="0"/>
                  <a:pt x="18" y="0"/>
                </a:cubicBezTo>
                <a:close/>
                <a:moveTo>
                  <a:pt x="41" y="45"/>
                </a:moveTo>
                <a:cubicBezTo>
                  <a:pt x="50" y="42"/>
                  <a:pt x="50" y="42"/>
                  <a:pt x="50" y="42"/>
                </a:cubicBezTo>
                <a:cubicBezTo>
                  <a:pt x="51" y="41"/>
                  <a:pt x="51" y="41"/>
                  <a:pt x="51" y="41"/>
                </a:cubicBezTo>
                <a:cubicBezTo>
                  <a:pt x="52" y="42"/>
                  <a:pt x="52" y="42"/>
                  <a:pt x="52" y="42"/>
                </a:cubicBezTo>
                <a:cubicBezTo>
                  <a:pt x="59" y="46"/>
                  <a:pt x="59" y="46"/>
                  <a:pt x="59" y="46"/>
                </a:cubicBezTo>
                <a:cubicBezTo>
                  <a:pt x="65" y="29"/>
                  <a:pt x="65" y="29"/>
                  <a:pt x="65" y="29"/>
                </a:cubicBezTo>
                <a:cubicBezTo>
                  <a:pt x="66" y="27"/>
                  <a:pt x="66" y="27"/>
                  <a:pt x="66" y="27"/>
                </a:cubicBezTo>
                <a:cubicBezTo>
                  <a:pt x="67" y="29"/>
                  <a:pt x="67" y="29"/>
                  <a:pt x="67" y="29"/>
                </a:cubicBezTo>
                <a:cubicBezTo>
                  <a:pt x="73" y="34"/>
                  <a:pt x="73" y="34"/>
                  <a:pt x="73" y="34"/>
                </a:cubicBezTo>
                <a:cubicBezTo>
                  <a:pt x="81" y="21"/>
                  <a:pt x="81" y="21"/>
                  <a:pt x="81" y="21"/>
                </a:cubicBezTo>
                <a:cubicBezTo>
                  <a:pt x="83" y="23"/>
                  <a:pt x="83" y="23"/>
                  <a:pt x="83" y="23"/>
                </a:cubicBezTo>
                <a:cubicBezTo>
                  <a:pt x="75" y="38"/>
                  <a:pt x="75" y="38"/>
                  <a:pt x="75" y="38"/>
                </a:cubicBezTo>
                <a:cubicBezTo>
                  <a:pt x="73" y="40"/>
                  <a:pt x="73" y="40"/>
                  <a:pt x="73" y="40"/>
                </a:cubicBezTo>
                <a:cubicBezTo>
                  <a:pt x="72" y="38"/>
                  <a:pt x="72" y="38"/>
                  <a:pt x="72" y="38"/>
                </a:cubicBezTo>
                <a:cubicBezTo>
                  <a:pt x="67" y="33"/>
                  <a:pt x="67" y="33"/>
                  <a:pt x="67" y="33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51"/>
                  <a:pt x="61" y="51"/>
                  <a:pt x="61" y="51"/>
                </a:cubicBezTo>
                <a:cubicBezTo>
                  <a:pt x="59" y="50"/>
                  <a:pt x="59" y="50"/>
                  <a:pt x="59" y="50"/>
                </a:cubicBezTo>
                <a:cubicBezTo>
                  <a:pt x="51" y="45"/>
                  <a:pt x="51" y="45"/>
                  <a:pt x="51" y="45"/>
                </a:cubicBezTo>
                <a:cubicBezTo>
                  <a:pt x="42" y="48"/>
                  <a:pt x="42" y="48"/>
                  <a:pt x="42" y="48"/>
                </a:cubicBezTo>
                <a:cubicBezTo>
                  <a:pt x="41" y="45"/>
                  <a:pt x="41" y="45"/>
                  <a:pt x="41" y="45"/>
                </a:cubicBezTo>
                <a:close/>
                <a:moveTo>
                  <a:pt x="43" y="86"/>
                </a:moveTo>
                <a:cubicBezTo>
                  <a:pt x="74" y="86"/>
                  <a:pt x="74" y="86"/>
                  <a:pt x="74" y="86"/>
                </a:cubicBezTo>
                <a:cubicBezTo>
                  <a:pt x="74" y="91"/>
                  <a:pt x="74" y="91"/>
                  <a:pt x="74" y="91"/>
                </a:cubicBezTo>
                <a:cubicBezTo>
                  <a:pt x="43" y="91"/>
                  <a:pt x="43" y="91"/>
                  <a:pt x="43" y="91"/>
                </a:cubicBezTo>
                <a:cubicBezTo>
                  <a:pt x="43" y="86"/>
                  <a:pt x="43" y="86"/>
                  <a:pt x="43" y="86"/>
                </a:cubicBezTo>
                <a:close/>
                <a:moveTo>
                  <a:pt x="63" y="68"/>
                </a:moveTo>
                <a:cubicBezTo>
                  <a:pt x="93" y="68"/>
                  <a:pt x="93" y="68"/>
                  <a:pt x="93" y="68"/>
                </a:cubicBezTo>
                <a:cubicBezTo>
                  <a:pt x="97" y="68"/>
                  <a:pt x="97" y="68"/>
                  <a:pt x="97" y="68"/>
                </a:cubicBezTo>
                <a:cubicBezTo>
                  <a:pt x="97" y="64"/>
                  <a:pt x="97" y="64"/>
                  <a:pt x="97" y="64"/>
                </a:cubicBezTo>
                <a:cubicBezTo>
                  <a:pt x="97" y="6"/>
                  <a:pt x="97" y="6"/>
                  <a:pt x="97" y="6"/>
                </a:cubicBezTo>
                <a:cubicBezTo>
                  <a:pt x="97" y="3"/>
                  <a:pt x="97" y="3"/>
                  <a:pt x="97" y="3"/>
                </a:cubicBezTo>
                <a:cubicBezTo>
                  <a:pt x="93" y="3"/>
                  <a:pt x="93" y="3"/>
                  <a:pt x="93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9"/>
                  <a:pt x="34" y="9"/>
                  <a:pt x="34" y="9"/>
                </a:cubicBezTo>
                <a:cubicBezTo>
                  <a:pt x="90" y="9"/>
                  <a:pt x="90" y="9"/>
                  <a:pt x="90" y="9"/>
                </a:cubicBezTo>
                <a:cubicBezTo>
                  <a:pt x="90" y="61"/>
                  <a:pt x="90" y="61"/>
                  <a:pt x="90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68"/>
                  <a:pt x="36" y="68"/>
                  <a:pt x="36" y="68"/>
                </a:cubicBezTo>
                <a:cubicBezTo>
                  <a:pt x="54" y="68"/>
                  <a:pt x="54" y="68"/>
                  <a:pt x="54" y="68"/>
                </a:cubicBezTo>
                <a:cubicBezTo>
                  <a:pt x="54" y="84"/>
                  <a:pt x="54" y="84"/>
                  <a:pt x="54" y="84"/>
                </a:cubicBezTo>
                <a:cubicBezTo>
                  <a:pt x="63" y="84"/>
                  <a:pt x="63" y="84"/>
                  <a:pt x="63" y="84"/>
                </a:cubicBezTo>
                <a:cubicBezTo>
                  <a:pt x="63" y="68"/>
                  <a:pt x="63" y="68"/>
                  <a:pt x="63" y="68"/>
                </a:cubicBezTo>
                <a:close/>
                <a:moveTo>
                  <a:pt x="0" y="50"/>
                </a:moveTo>
                <a:cubicBezTo>
                  <a:pt x="7" y="55"/>
                  <a:pt x="7" y="55"/>
                  <a:pt x="7" y="55"/>
                </a:cubicBezTo>
                <a:cubicBezTo>
                  <a:pt x="5" y="91"/>
                  <a:pt x="5" y="91"/>
                  <a:pt x="5" y="91"/>
                </a:cubicBezTo>
                <a:cubicBezTo>
                  <a:pt x="14" y="91"/>
                  <a:pt x="14" y="91"/>
                  <a:pt x="14" y="91"/>
                </a:cubicBezTo>
                <a:cubicBezTo>
                  <a:pt x="16" y="60"/>
                  <a:pt x="16" y="60"/>
                  <a:pt x="16" y="60"/>
                </a:cubicBezTo>
                <a:cubicBezTo>
                  <a:pt x="20" y="60"/>
                  <a:pt x="20" y="60"/>
                  <a:pt x="20" y="60"/>
                </a:cubicBezTo>
                <a:cubicBezTo>
                  <a:pt x="22" y="91"/>
                  <a:pt x="22" y="91"/>
                  <a:pt x="22" y="91"/>
                </a:cubicBezTo>
                <a:cubicBezTo>
                  <a:pt x="31" y="91"/>
                  <a:pt x="31" y="91"/>
                  <a:pt x="31" y="91"/>
                </a:cubicBezTo>
                <a:cubicBezTo>
                  <a:pt x="29" y="55"/>
                  <a:pt x="29" y="55"/>
                  <a:pt x="29" y="55"/>
                </a:cubicBezTo>
                <a:cubicBezTo>
                  <a:pt x="28" y="33"/>
                  <a:pt x="28" y="33"/>
                  <a:pt x="28" y="33"/>
                </a:cubicBezTo>
                <a:cubicBezTo>
                  <a:pt x="50" y="32"/>
                  <a:pt x="50" y="32"/>
                  <a:pt x="50" y="32"/>
                </a:cubicBezTo>
                <a:cubicBezTo>
                  <a:pt x="55" y="24"/>
                  <a:pt x="55" y="24"/>
                  <a:pt x="55" y="24"/>
                </a:cubicBezTo>
                <a:cubicBezTo>
                  <a:pt x="30" y="23"/>
                  <a:pt x="30" y="23"/>
                  <a:pt x="30" y="23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4"/>
                  <a:pt x="20" y="24"/>
                  <a:pt x="20" y="24"/>
                </a:cubicBezTo>
                <a:cubicBezTo>
                  <a:pt x="19" y="27"/>
                  <a:pt x="19" y="27"/>
                  <a:pt x="19" y="27"/>
                </a:cubicBezTo>
                <a:cubicBezTo>
                  <a:pt x="22" y="43"/>
                  <a:pt x="22" y="43"/>
                  <a:pt x="22" y="43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4" y="43"/>
                  <a:pt x="14" y="43"/>
                  <a:pt x="14" y="43"/>
                </a:cubicBezTo>
                <a:cubicBezTo>
                  <a:pt x="16" y="27"/>
                  <a:pt x="16" y="27"/>
                  <a:pt x="16" y="27"/>
                </a:cubicBezTo>
                <a:cubicBezTo>
                  <a:pt x="15" y="24"/>
                  <a:pt x="15" y="24"/>
                  <a:pt x="15" y="24"/>
                </a:cubicBezTo>
                <a:cubicBezTo>
                  <a:pt x="16" y="23"/>
                  <a:pt x="16" y="23"/>
                  <a:pt x="16" y="23"/>
                </a:cubicBezTo>
                <a:cubicBezTo>
                  <a:pt x="5" y="23"/>
                  <a:pt x="5" y="23"/>
                  <a:pt x="5" y="23"/>
                </a:cubicBezTo>
                <a:lnTo>
                  <a:pt x="0" y="5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2" name="矩形 311"/>
          <p:cNvSpPr/>
          <p:nvPr/>
        </p:nvSpPr>
        <p:spPr>
          <a:xfrm>
            <a:off x="6656665" y="3526415"/>
            <a:ext cx="859627" cy="507831"/>
          </a:xfrm>
          <a:prstGeom prst="rect">
            <a:avLst/>
          </a:prstGeom>
        </p:spPr>
        <p:txBody>
          <a:bodyPr wrap="square" lIns="40489" rIns="40489">
            <a:sp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135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解决方案</a:t>
            </a:r>
          </a:p>
          <a:p>
            <a:pPr algn="ctr" defTabSz="440891" eaLnBrk="0" fontAlgn="ctr" hangingPunct="0">
              <a:buSzPct val="60000"/>
              <a:defRPr/>
            </a:pPr>
            <a:r>
              <a:rPr lang="zh-CN" altLang="en-US" sz="135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架构师</a:t>
            </a:r>
          </a:p>
        </p:txBody>
      </p:sp>
      <p:sp>
        <p:nvSpPr>
          <p:cNvPr id="313" name="Rectangle 4"/>
          <p:cNvSpPr>
            <a:spLocks noChangeArrowheads="1"/>
          </p:cNvSpPr>
          <p:nvPr/>
        </p:nvSpPr>
        <p:spPr bwMode="auto">
          <a:xfrm>
            <a:off x="7630562" y="1676056"/>
            <a:ext cx="964074" cy="340251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35748" tIns="17874" rIns="35748" bIns="17874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5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14" name="直接连接符 313"/>
          <p:cNvCxnSpPr/>
          <p:nvPr/>
        </p:nvCxnSpPr>
        <p:spPr>
          <a:xfrm>
            <a:off x="7605068" y="1673468"/>
            <a:ext cx="0" cy="3380681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矩形 314"/>
          <p:cNvSpPr/>
          <p:nvPr/>
        </p:nvSpPr>
        <p:spPr>
          <a:xfrm>
            <a:off x="7685968" y="3636602"/>
            <a:ext cx="859627" cy="300082"/>
          </a:xfrm>
          <a:prstGeom prst="rect">
            <a:avLst/>
          </a:prstGeom>
        </p:spPr>
        <p:txBody>
          <a:bodyPr wrap="square" lIns="40489" rIns="40489">
            <a:spAutoFit/>
          </a:bodyPr>
          <a:lstStyle/>
          <a:p>
            <a:pPr algn="ctr" defTabSz="440891" eaLnBrk="0" fontAlgn="ctr" hangingPunct="0">
              <a:buSzPct val="60000"/>
              <a:defRPr/>
            </a:pPr>
            <a:r>
              <a:rPr lang="zh-CN" altLang="en-US" sz="135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管理者</a:t>
            </a:r>
          </a:p>
        </p:txBody>
      </p:sp>
      <p:sp>
        <p:nvSpPr>
          <p:cNvPr id="316" name="Freeform 53"/>
          <p:cNvSpPr>
            <a:spLocks noEditPoints="1"/>
          </p:cNvSpPr>
          <p:nvPr/>
        </p:nvSpPr>
        <p:spPr bwMode="auto">
          <a:xfrm>
            <a:off x="7786252" y="2715449"/>
            <a:ext cx="646409" cy="666227"/>
          </a:xfrm>
          <a:custGeom>
            <a:avLst/>
            <a:gdLst>
              <a:gd name="T0" fmla="*/ 35 w 103"/>
              <a:gd name="T1" fmla="*/ 39 h 104"/>
              <a:gd name="T2" fmla="*/ 37 w 103"/>
              <a:gd name="T3" fmla="*/ 19 h 104"/>
              <a:gd name="T4" fmla="*/ 68 w 103"/>
              <a:gd name="T5" fmla="*/ 20 h 104"/>
              <a:gd name="T6" fmla="*/ 69 w 103"/>
              <a:gd name="T7" fmla="*/ 39 h 104"/>
              <a:gd name="T8" fmla="*/ 72 w 103"/>
              <a:gd name="T9" fmla="*/ 10 h 104"/>
              <a:gd name="T10" fmla="*/ 33 w 103"/>
              <a:gd name="T11" fmla="*/ 8 h 104"/>
              <a:gd name="T12" fmla="*/ 35 w 103"/>
              <a:gd name="T13" fmla="*/ 39 h 104"/>
              <a:gd name="T14" fmla="*/ 5 w 103"/>
              <a:gd name="T15" fmla="*/ 67 h 104"/>
              <a:gd name="T16" fmla="*/ 28 w 103"/>
              <a:gd name="T17" fmla="*/ 59 h 104"/>
              <a:gd name="T18" fmla="*/ 27 w 103"/>
              <a:gd name="T19" fmla="*/ 76 h 104"/>
              <a:gd name="T20" fmla="*/ 31 w 103"/>
              <a:gd name="T21" fmla="*/ 75 h 104"/>
              <a:gd name="T22" fmla="*/ 28 w 103"/>
              <a:gd name="T23" fmla="*/ 78 h 104"/>
              <a:gd name="T24" fmla="*/ 28 w 103"/>
              <a:gd name="T25" fmla="*/ 79 h 104"/>
              <a:gd name="T26" fmla="*/ 40 w 103"/>
              <a:gd name="T27" fmla="*/ 100 h 104"/>
              <a:gd name="T28" fmla="*/ 43 w 103"/>
              <a:gd name="T29" fmla="*/ 102 h 104"/>
              <a:gd name="T30" fmla="*/ 30 w 103"/>
              <a:gd name="T31" fmla="*/ 79 h 104"/>
              <a:gd name="T32" fmla="*/ 35 w 103"/>
              <a:gd name="T33" fmla="*/ 74 h 104"/>
              <a:gd name="T34" fmla="*/ 34 w 103"/>
              <a:gd name="T35" fmla="*/ 73 h 104"/>
              <a:gd name="T36" fmla="*/ 29 w 103"/>
              <a:gd name="T37" fmla="*/ 73 h 104"/>
              <a:gd name="T38" fmla="*/ 29 w 103"/>
              <a:gd name="T39" fmla="*/ 59 h 104"/>
              <a:gd name="T40" fmla="*/ 39 w 103"/>
              <a:gd name="T41" fmla="*/ 53 h 104"/>
              <a:gd name="T42" fmla="*/ 40 w 103"/>
              <a:gd name="T43" fmla="*/ 53 h 104"/>
              <a:gd name="T44" fmla="*/ 40 w 103"/>
              <a:gd name="T45" fmla="*/ 67 h 104"/>
              <a:gd name="T46" fmla="*/ 46 w 103"/>
              <a:gd name="T47" fmla="*/ 83 h 104"/>
              <a:gd name="T48" fmla="*/ 50 w 103"/>
              <a:gd name="T49" fmla="*/ 67 h 104"/>
              <a:gd name="T50" fmla="*/ 48 w 103"/>
              <a:gd name="T51" fmla="*/ 64 h 104"/>
              <a:gd name="T52" fmla="*/ 49 w 103"/>
              <a:gd name="T53" fmla="*/ 60 h 104"/>
              <a:gd name="T54" fmla="*/ 56 w 103"/>
              <a:gd name="T55" fmla="*/ 60 h 104"/>
              <a:gd name="T56" fmla="*/ 58 w 103"/>
              <a:gd name="T57" fmla="*/ 64 h 104"/>
              <a:gd name="T58" fmla="*/ 56 w 103"/>
              <a:gd name="T59" fmla="*/ 67 h 104"/>
              <a:gd name="T60" fmla="*/ 59 w 103"/>
              <a:gd name="T61" fmla="*/ 83 h 104"/>
              <a:gd name="T62" fmla="*/ 65 w 103"/>
              <a:gd name="T63" fmla="*/ 68 h 104"/>
              <a:gd name="T64" fmla="*/ 66 w 103"/>
              <a:gd name="T65" fmla="*/ 54 h 104"/>
              <a:gd name="T66" fmla="*/ 74 w 103"/>
              <a:gd name="T67" fmla="*/ 59 h 104"/>
              <a:gd name="T68" fmla="*/ 75 w 103"/>
              <a:gd name="T69" fmla="*/ 73 h 104"/>
              <a:gd name="T70" fmla="*/ 70 w 103"/>
              <a:gd name="T71" fmla="*/ 73 h 104"/>
              <a:gd name="T72" fmla="*/ 69 w 103"/>
              <a:gd name="T73" fmla="*/ 74 h 104"/>
              <a:gd name="T74" fmla="*/ 74 w 103"/>
              <a:gd name="T75" fmla="*/ 79 h 104"/>
              <a:gd name="T76" fmla="*/ 63 w 103"/>
              <a:gd name="T77" fmla="*/ 98 h 104"/>
              <a:gd name="T78" fmla="*/ 63 w 103"/>
              <a:gd name="T79" fmla="*/ 98 h 104"/>
              <a:gd name="T80" fmla="*/ 63 w 103"/>
              <a:gd name="T81" fmla="*/ 98 h 104"/>
              <a:gd name="T82" fmla="*/ 61 w 103"/>
              <a:gd name="T83" fmla="*/ 102 h 104"/>
              <a:gd name="T84" fmla="*/ 63 w 103"/>
              <a:gd name="T85" fmla="*/ 100 h 104"/>
              <a:gd name="T86" fmla="*/ 76 w 103"/>
              <a:gd name="T87" fmla="*/ 79 h 104"/>
              <a:gd name="T88" fmla="*/ 76 w 103"/>
              <a:gd name="T89" fmla="*/ 78 h 104"/>
              <a:gd name="T90" fmla="*/ 72 w 103"/>
              <a:gd name="T91" fmla="*/ 75 h 104"/>
              <a:gd name="T92" fmla="*/ 77 w 103"/>
              <a:gd name="T93" fmla="*/ 76 h 104"/>
              <a:gd name="T94" fmla="*/ 75 w 103"/>
              <a:gd name="T95" fmla="*/ 59 h 104"/>
              <a:gd name="T96" fmla="*/ 98 w 103"/>
              <a:gd name="T97" fmla="*/ 67 h 104"/>
              <a:gd name="T98" fmla="*/ 103 w 103"/>
              <a:gd name="T99" fmla="*/ 104 h 104"/>
              <a:gd name="T100" fmla="*/ 85 w 103"/>
              <a:gd name="T101" fmla="*/ 104 h 104"/>
              <a:gd name="T102" fmla="*/ 85 w 103"/>
              <a:gd name="T103" fmla="*/ 91 h 104"/>
              <a:gd name="T104" fmla="*/ 84 w 103"/>
              <a:gd name="T105" fmla="*/ 92 h 104"/>
              <a:gd name="T106" fmla="*/ 80 w 103"/>
              <a:gd name="T107" fmla="*/ 104 h 104"/>
              <a:gd name="T108" fmla="*/ 56 w 103"/>
              <a:gd name="T109" fmla="*/ 104 h 104"/>
              <a:gd name="T110" fmla="*/ 50 w 103"/>
              <a:gd name="T111" fmla="*/ 104 h 104"/>
              <a:gd name="T112" fmla="*/ 25 w 103"/>
              <a:gd name="T113" fmla="*/ 104 h 104"/>
              <a:gd name="T114" fmla="*/ 21 w 103"/>
              <a:gd name="T115" fmla="*/ 92 h 104"/>
              <a:gd name="T116" fmla="*/ 20 w 103"/>
              <a:gd name="T117" fmla="*/ 91 h 104"/>
              <a:gd name="T118" fmla="*/ 20 w 103"/>
              <a:gd name="T119" fmla="*/ 104 h 104"/>
              <a:gd name="T120" fmla="*/ 0 w 103"/>
              <a:gd name="T121" fmla="*/ 104 h 104"/>
              <a:gd name="T122" fmla="*/ 5 w 103"/>
              <a:gd name="T123" fmla="*/ 6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3" h="104">
                <a:moveTo>
                  <a:pt x="35" y="39"/>
                </a:moveTo>
                <a:cubicBezTo>
                  <a:pt x="35" y="32"/>
                  <a:pt x="34" y="27"/>
                  <a:pt x="37" y="19"/>
                </a:cubicBezTo>
                <a:cubicBezTo>
                  <a:pt x="45" y="31"/>
                  <a:pt x="58" y="23"/>
                  <a:pt x="68" y="20"/>
                </a:cubicBezTo>
                <a:cubicBezTo>
                  <a:pt x="69" y="26"/>
                  <a:pt x="69" y="31"/>
                  <a:pt x="69" y="39"/>
                </a:cubicBezTo>
                <a:cubicBezTo>
                  <a:pt x="76" y="33"/>
                  <a:pt x="76" y="16"/>
                  <a:pt x="72" y="10"/>
                </a:cubicBezTo>
                <a:cubicBezTo>
                  <a:pt x="65" y="0"/>
                  <a:pt x="40" y="0"/>
                  <a:pt x="33" y="8"/>
                </a:cubicBezTo>
                <a:cubicBezTo>
                  <a:pt x="30" y="12"/>
                  <a:pt x="26" y="34"/>
                  <a:pt x="35" y="39"/>
                </a:cubicBezTo>
                <a:close/>
                <a:moveTo>
                  <a:pt x="5" y="67"/>
                </a:moveTo>
                <a:cubicBezTo>
                  <a:pt x="13" y="64"/>
                  <a:pt x="20" y="62"/>
                  <a:pt x="28" y="59"/>
                </a:cubicBezTo>
                <a:cubicBezTo>
                  <a:pt x="27" y="76"/>
                  <a:pt x="27" y="76"/>
                  <a:pt x="27" y="76"/>
                </a:cubicBezTo>
                <a:cubicBezTo>
                  <a:pt x="31" y="75"/>
                  <a:pt x="31" y="75"/>
                  <a:pt x="31" y="75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35" y="92"/>
                  <a:pt x="40" y="100"/>
                </a:cubicBezTo>
                <a:cubicBezTo>
                  <a:pt x="41" y="101"/>
                  <a:pt x="42" y="101"/>
                  <a:pt x="43" y="102"/>
                </a:cubicBezTo>
                <a:cubicBezTo>
                  <a:pt x="39" y="95"/>
                  <a:pt x="32" y="82"/>
                  <a:pt x="30" y="79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3"/>
                  <a:pt x="34" y="73"/>
                  <a:pt x="34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59"/>
                  <a:pt x="29" y="59"/>
                  <a:pt x="29" y="59"/>
                </a:cubicBezTo>
                <a:cubicBezTo>
                  <a:pt x="32" y="57"/>
                  <a:pt x="37" y="55"/>
                  <a:pt x="39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67"/>
                  <a:pt x="40" y="67"/>
                  <a:pt x="40" y="67"/>
                </a:cubicBezTo>
                <a:cubicBezTo>
                  <a:pt x="46" y="83"/>
                  <a:pt x="46" y="83"/>
                  <a:pt x="46" y="83"/>
                </a:cubicBezTo>
                <a:cubicBezTo>
                  <a:pt x="50" y="67"/>
                  <a:pt x="50" y="67"/>
                  <a:pt x="50" y="67"/>
                </a:cubicBezTo>
                <a:cubicBezTo>
                  <a:pt x="48" y="64"/>
                  <a:pt x="48" y="64"/>
                  <a:pt x="48" y="64"/>
                </a:cubicBezTo>
                <a:cubicBezTo>
                  <a:pt x="49" y="60"/>
                  <a:pt x="49" y="60"/>
                  <a:pt x="49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8" y="64"/>
                  <a:pt x="58" y="64"/>
                  <a:pt x="58" y="64"/>
                </a:cubicBezTo>
                <a:cubicBezTo>
                  <a:pt x="56" y="67"/>
                  <a:pt x="56" y="67"/>
                  <a:pt x="56" y="67"/>
                </a:cubicBezTo>
                <a:cubicBezTo>
                  <a:pt x="59" y="83"/>
                  <a:pt x="59" y="83"/>
                  <a:pt x="59" y="83"/>
                </a:cubicBezTo>
                <a:cubicBezTo>
                  <a:pt x="65" y="68"/>
                  <a:pt x="65" y="68"/>
                  <a:pt x="65" y="68"/>
                </a:cubicBezTo>
                <a:cubicBezTo>
                  <a:pt x="66" y="54"/>
                  <a:pt x="66" y="54"/>
                  <a:pt x="66" y="54"/>
                </a:cubicBezTo>
                <a:cubicBezTo>
                  <a:pt x="69" y="56"/>
                  <a:pt x="72" y="58"/>
                  <a:pt x="74" y="59"/>
                </a:cubicBezTo>
                <a:cubicBezTo>
                  <a:pt x="75" y="73"/>
                  <a:pt x="75" y="73"/>
                  <a:pt x="75" y="73"/>
                </a:cubicBezTo>
                <a:cubicBezTo>
                  <a:pt x="70" y="73"/>
                  <a:pt x="70" y="73"/>
                  <a:pt x="70" y="73"/>
                </a:cubicBezTo>
                <a:cubicBezTo>
                  <a:pt x="69" y="74"/>
                  <a:pt x="69" y="74"/>
                  <a:pt x="69" y="74"/>
                </a:cubicBezTo>
                <a:cubicBezTo>
                  <a:pt x="74" y="79"/>
                  <a:pt x="74" y="79"/>
                  <a:pt x="74" y="79"/>
                </a:cubicBezTo>
                <a:cubicBezTo>
                  <a:pt x="72" y="81"/>
                  <a:pt x="67" y="91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3" y="98"/>
                  <a:pt x="63" y="98"/>
                  <a:pt x="63" y="98"/>
                </a:cubicBezTo>
                <a:cubicBezTo>
                  <a:pt x="62" y="100"/>
                  <a:pt x="62" y="101"/>
                  <a:pt x="61" y="102"/>
                </a:cubicBezTo>
                <a:cubicBezTo>
                  <a:pt x="62" y="101"/>
                  <a:pt x="63" y="101"/>
                  <a:pt x="63" y="100"/>
                </a:cubicBezTo>
                <a:cubicBezTo>
                  <a:pt x="69" y="92"/>
                  <a:pt x="75" y="79"/>
                  <a:pt x="76" y="79"/>
                </a:cubicBezTo>
                <a:cubicBezTo>
                  <a:pt x="76" y="78"/>
                  <a:pt x="76" y="78"/>
                  <a:pt x="76" y="78"/>
                </a:cubicBezTo>
                <a:cubicBezTo>
                  <a:pt x="72" y="75"/>
                  <a:pt x="72" y="75"/>
                  <a:pt x="72" y="75"/>
                </a:cubicBezTo>
                <a:cubicBezTo>
                  <a:pt x="77" y="76"/>
                  <a:pt x="77" y="76"/>
                  <a:pt x="77" y="76"/>
                </a:cubicBezTo>
                <a:cubicBezTo>
                  <a:pt x="75" y="59"/>
                  <a:pt x="75" y="59"/>
                  <a:pt x="75" y="59"/>
                </a:cubicBezTo>
                <a:cubicBezTo>
                  <a:pt x="98" y="67"/>
                  <a:pt x="98" y="67"/>
                  <a:pt x="98" y="67"/>
                </a:cubicBezTo>
                <a:cubicBezTo>
                  <a:pt x="103" y="77"/>
                  <a:pt x="103" y="90"/>
                  <a:pt x="103" y="104"/>
                </a:cubicBezTo>
                <a:cubicBezTo>
                  <a:pt x="85" y="104"/>
                  <a:pt x="85" y="104"/>
                  <a:pt x="85" y="104"/>
                </a:cubicBezTo>
                <a:cubicBezTo>
                  <a:pt x="85" y="91"/>
                  <a:pt x="85" y="91"/>
                  <a:pt x="85" y="91"/>
                </a:cubicBezTo>
                <a:cubicBezTo>
                  <a:pt x="84" y="92"/>
                  <a:pt x="84" y="92"/>
                  <a:pt x="84" y="92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56" y="104"/>
                  <a:pt x="56" y="104"/>
                  <a:pt x="56" y="104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5" y="104"/>
                  <a:pt x="25" y="104"/>
                  <a:pt x="25" y="104"/>
                </a:cubicBezTo>
                <a:cubicBezTo>
                  <a:pt x="21" y="92"/>
                  <a:pt x="21" y="92"/>
                  <a:pt x="21" y="92"/>
                </a:cubicBezTo>
                <a:cubicBezTo>
                  <a:pt x="20" y="91"/>
                  <a:pt x="20" y="91"/>
                  <a:pt x="20" y="91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86"/>
                  <a:pt x="1" y="74"/>
                  <a:pt x="5" y="6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7" name="52429146"/>
          <p:cNvSpPr txBox="1"/>
          <p:nvPr/>
        </p:nvSpPr>
        <p:spPr>
          <a:xfrm>
            <a:off x="2860480" y="4723184"/>
            <a:ext cx="336457" cy="18461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fontAlgn="ctr"/>
            <a:r>
              <a:rPr lang="en-US" altLang="zh-CN" sz="750" b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…</a:t>
            </a:r>
          </a:p>
        </p:txBody>
      </p:sp>
      <p:sp>
        <p:nvSpPr>
          <p:cNvPr id="318" name="标题 1"/>
          <p:cNvSpPr txBox="1">
            <a:spLocks/>
          </p:cNvSpPr>
          <p:nvPr/>
        </p:nvSpPr>
        <p:spPr>
          <a:xfrm>
            <a:off x="261951" y="623975"/>
            <a:ext cx="8347199" cy="512890"/>
          </a:xfrm>
          <a:prstGeom prst="rect">
            <a:avLst/>
          </a:prstGeom>
        </p:spPr>
        <p:txBody>
          <a:bodyPr vert="horz" lIns="91415" tIns="45708" rIns="91415" bIns="45708" rtlCol="0" anchor="ctr">
            <a:noAutofit/>
          </a:bodyPr>
          <a:lstStyle>
            <a:defPPr>
              <a:defRPr lang="en-US"/>
            </a:defPPr>
            <a:lvl1pPr defTabSz="1219200">
              <a:lnSpc>
                <a:spcPct val="90000"/>
              </a:lnSpc>
              <a:spcBef>
                <a:spcPct val="0"/>
              </a:spcBef>
              <a:buNone/>
              <a:defRPr sz="24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人才培养目标群体</a:t>
            </a:r>
          </a:p>
        </p:txBody>
      </p:sp>
    </p:spTree>
    <p:extLst>
      <p:ext uri="{BB962C8B-B14F-4D97-AF65-F5344CB8AC3E}">
        <p14:creationId xmlns:p14="http://schemas.microsoft.com/office/powerpoint/2010/main" val="351628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381000" y="1190684"/>
            <a:ext cx="8001000" cy="3733800"/>
            <a:chOff x="381000" y="971550"/>
            <a:chExt cx="8509174" cy="4039373"/>
          </a:xfrm>
        </p:grpSpPr>
        <p:sp>
          <p:nvSpPr>
            <p:cNvPr id="18" name="Rectangle 5"/>
            <p:cNvSpPr>
              <a:spLocks noChangeArrowheads="1"/>
            </p:cNvSpPr>
            <p:nvPr/>
          </p:nvSpPr>
          <p:spPr bwMode="auto">
            <a:xfrm>
              <a:off x="4786787" y="971550"/>
              <a:ext cx="4103387" cy="4039373"/>
            </a:xfrm>
            <a:prstGeom prst="rect">
              <a:avLst/>
            </a:prstGeom>
            <a:solidFill>
              <a:srgbClr val="D7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381000" y="971550"/>
              <a:ext cx="3919860" cy="4016236"/>
            </a:xfrm>
            <a:prstGeom prst="rect">
              <a:avLst/>
            </a:prstGeom>
            <a:solidFill>
              <a:srgbClr val="D7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4894770" y="1025542"/>
              <a:ext cx="3859136" cy="3942684"/>
              <a:chOff x="6176510" y="922858"/>
              <a:chExt cx="5355963" cy="5564573"/>
            </a:xfrm>
          </p:grpSpPr>
          <p:sp>
            <p:nvSpPr>
              <p:cNvPr id="21" name="Freeform 1867"/>
              <p:cNvSpPr>
                <a:spLocks/>
              </p:cNvSpPr>
              <p:nvPr/>
            </p:nvSpPr>
            <p:spPr bwMode="auto">
              <a:xfrm>
                <a:off x="7812272" y="2532131"/>
                <a:ext cx="2082783" cy="2331127"/>
              </a:xfrm>
              <a:custGeom>
                <a:avLst/>
                <a:gdLst>
                  <a:gd name="T0" fmla="*/ 154 w 159"/>
                  <a:gd name="T1" fmla="*/ 124 h 178"/>
                  <a:gd name="T2" fmla="*/ 150 w 159"/>
                  <a:gd name="T3" fmla="*/ 123 h 178"/>
                  <a:gd name="T4" fmla="*/ 150 w 159"/>
                  <a:gd name="T5" fmla="*/ 123 h 178"/>
                  <a:gd name="T6" fmla="*/ 141 w 159"/>
                  <a:gd name="T7" fmla="*/ 122 h 178"/>
                  <a:gd name="T8" fmla="*/ 159 w 159"/>
                  <a:gd name="T9" fmla="*/ 90 h 178"/>
                  <a:gd name="T10" fmla="*/ 140 w 159"/>
                  <a:gd name="T11" fmla="*/ 56 h 178"/>
                  <a:gd name="T12" fmla="*/ 150 w 159"/>
                  <a:gd name="T13" fmla="*/ 55 h 178"/>
                  <a:gd name="T14" fmla="*/ 150 w 159"/>
                  <a:gd name="T15" fmla="*/ 55 h 178"/>
                  <a:gd name="T16" fmla="*/ 154 w 159"/>
                  <a:gd name="T17" fmla="*/ 54 h 178"/>
                  <a:gd name="T18" fmla="*/ 157 w 159"/>
                  <a:gd name="T19" fmla="*/ 44 h 178"/>
                  <a:gd name="T20" fmla="*/ 147 w 159"/>
                  <a:gd name="T21" fmla="*/ 42 h 178"/>
                  <a:gd name="T22" fmla="*/ 144 w 159"/>
                  <a:gd name="T23" fmla="*/ 45 h 178"/>
                  <a:gd name="T24" fmla="*/ 144 w 159"/>
                  <a:gd name="T25" fmla="*/ 45 h 178"/>
                  <a:gd name="T26" fmla="*/ 138 w 159"/>
                  <a:gd name="T27" fmla="*/ 53 h 178"/>
                  <a:gd name="T28" fmla="*/ 119 w 159"/>
                  <a:gd name="T29" fmla="*/ 20 h 178"/>
                  <a:gd name="T30" fmla="*/ 81 w 159"/>
                  <a:gd name="T31" fmla="*/ 20 h 178"/>
                  <a:gd name="T32" fmla="*/ 85 w 159"/>
                  <a:gd name="T33" fmla="*/ 11 h 178"/>
                  <a:gd name="T34" fmla="*/ 85 w 159"/>
                  <a:gd name="T35" fmla="*/ 11 h 178"/>
                  <a:gd name="T36" fmla="*/ 86 w 159"/>
                  <a:gd name="T37" fmla="*/ 7 h 178"/>
                  <a:gd name="T38" fmla="*/ 79 w 159"/>
                  <a:gd name="T39" fmla="*/ 0 h 178"/>
                  <a:gd name="T40" fmla="*/ 72 w 159"/>
                  <a:gd name="T41" fmla="*/ 7 h 178"/>
                  <a:gd name="T42" fmla="*/ 74 w 159"/>
                  <a:gd name="T43" fmla="*/ 11 h 178"/>
                  <a:gd name="T44" fmla="*/ 74 w 159"/>
                  <a:gd name="T45" fmla="*/ 11 h 178"/>
                  <a:gd name="T46" fmla="*/ 77 w 159"/>
                  <a:gd name="T47" fmla="*/ 20 h 178"/>
                  <a:gd name="T48" fmla="*/ 40 w 159"/>
                  <a:gd name="T49" fmla="*/ 20 h 178"/>
                  <a:gd name="T50" fmla="*/ 21 w 159"/>
                  <a:gd name="T51" fmla="*/ 53 h 178"/>
                  <a:gd name="T52" fmla="*/ 14 w 159"/>
                  <a:gd name="T53" fmla="*/ 45 h 178"/>
                  <a:gd name="T54" fmla="*/ 14 w 159"/>
                  <a:gd name="T55" fmla="*/ 45 h 178"/>
                  <a:gd name="T56" fmla="*/ 12 w 159"/>
                  <a:gd name="T57" fmla="*/ 42 h 178"/>
                  <a:gd name="T58" fmla="*/ 2 w 159"/>
                  <a:gd name="T59" fmla="*/ 44 h 178"/>
                  <a:gd name="T60" fmla="*/ 5 w 159"/>
                  <a:gd name="T61" fmla="*/ 54 h 178"/>
                  <a:gd name="T62" fmla="*/ 9 w 159"/>
                  <a:gd name="T63" fmla="*/ 55 h 178"/>
                  <a:gd name="T64" fmla="*/ 9 w 159"/>
                  <a:gd name="T65" fmla="*/ 55 h 178"/>
                  <a:gd name="T66" fmla="*/ 19 w 159"/>
                  <a:gd name="T67" fmla="*/ 56 h 178"/>
                  <a:gd name="T68" fmla="*/ 0 w 159"/>
                  <a:gd name="T69" fmla="*/ 90 h 178"/>
                  <a:gd name="T70" fmla="*/ 18 w 159"/>
                  <a:gd name="T71" fmla="*/ 122 h 178"/>
                  <a:gd name="T72" fmla="*/ 9 w 159"/>
                  <a:gd name="T73" fmla="*/ 123 h 178"/>
                  <a:gd name="T74" fmla="*/ 9 w 159"/>
                  <a:gd name="T75" fmla="*/ 123 h 178"/>
                  <a:gd name="T76" fmla="*/ 5 w 159"/>
                  <a:gd name="T77" fmla="*/ 124 h 178"/>
                  <a:gd name="T78" fmla="*/ 2 w 159"/>
                  <a:gd name="T79" fmla="*/ 134 h 178"/>
                  <a:gd name="T80" fmla="*/ 12 w 159"/>
                  <a:gd name="T81" fmla="*/ 136 h 178"/>
                  <a:gd name="T82" fmla="*/ 14 w 159"/>
                  <a:gd name="T83" fmla="*/ 133 h 178"/>
                  <a:gd name="T84" fmla="*/ 14 w 159"/>
                  <a:gd name="T85" fmla="*/ 133 h 178"/>
                  <a:gd name="T86" fmla="*/ 20 w 159"/>
                  <a:gd name="T87" fmla="*/ 125 h 178"/>
                  <a:gd name="T88" fmla="*/ 40 w 159"/>
                  <a:gd name="T89" fmla="*/ 159 h 178"/>
                  <a:gd name="T90" fmla="*/ 77 w 159"/>
                  <a:gd name="T91" fmla="*/ 159 h 178"/>
                  <a:gd name="T92" fmla="*/ 74 w 159"/>
                  <a:gd name="T93" fmla="*/ 167 h 178"/>
                  <a:gd name="T94" fmla="*/ 74 w 159"/>
                  <a:gd name="T95" fmla="*/ 167 h 178"/>
                  <a:gd name="T96" fmla="*/ 72 w 159"/>
                  <a:gd name="T97" fmla="*/ 171 h 178"/>
                  <a:gd name="T98" fmla="*/ 79 w 159"/>
                  <a:gd name="T99" fmla="*/ 178 h 178"/>
                  <a:gd name="T100" fmla="*/ 86 w 159"/>
                  <a:gd name="T101" fmla="*/ 171 h 178"/>
                  <a:gd name="T102" fmla="*/ 85 w 159"/>
                  <a:gd name="T103" fmla="*/ 167 h 178"/>
                  <a:gd name="T104" fmla="*/ 85 w 159"/>
                  <a:gd name="T105" fmla="*/ 167 h 178"/>
                  <a:gd name="T106" fmla="*/ 81 w 159"/>
                  <a:gd name="T107" fmla="*/ 159 h 178"/>
                  <a:gd name="T108" fmla="*/ 119 w 159"/>
                  <a:gd name="T109" fmla="*/ 159 h 178"/>
                  <a:gd name="T110" fmla="*/ 139 w 159"/>
                  <a:gd name="T111" fmla="*/ 126 h 178"/>
                  <a:gd name="T112" fmla="*/ 144 w 159"/>
                  <a:gd name="T113" fmla="*/ 133 h 178"/>
                  <a:gd name="T114" fmla="*/ 144 w 159"/>
                  <a:gd name="T115" fmla="*/ 133 h 178"/>
                  <a:gd name="T116" fmla="*/ 147 w 159"/>
                  <a:gd name="T117" fmla="*/ 136 h 178"/>
                  <a:gd name="T118" fmla="*/ 157 w 159"/>
                  <a:gd name="T119" fmla="*/ 134 h 178"/>
                  <a:gd name="T120" fmla="*/ 154 w 159"/>
                  <a:gd name="T121" fmla="*/ 12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78">
                    <a:moveTo>
                      <a:pt x="154" y="124"/>
                    </a:moveTo>
                    <a:cubicBezTo>
                      <a:pt x="153" y="123"/>
                      <a:pt x="151" y="123"/>
                      <a:pt x="150" y="123"/>
                    </a:cubicBezTo>
                    <a:cubicBezTo>
                      <a:pt x="150" y="123"/>
                      <a:pt x="150" y="123"/>
                      <a:pt x="150" y="123"/>
                    </a:cubicBezTo>
                    <a:cubicBezTo>
                      <a:pt x="146" y="124"/>
                      <a:pt x="143" y="123"/>
                      <a:pt x="141" y="122"/>
                    </a:cubicBezTo>
                    <a:cubicBezTo>
                      <a:pt x="159" y="90"/>
                      <a:pt x="159" y="90"/>
                      <a:pt x="159" y="90"/>
                    </a:cubicBezTo>
                    <a:cubicBezTo>
                      <a:pt x="140" y="56"/>
                      <a:pt x="140" y="56"/>
                      <a:pt x="140" y="56"/>
                    </a:cubicBezTo>
                    <a:cubicBezTo>
                      <a:pt x="143" y="55"/>
                      <a:pt x="146" y="54"/>
                      <a:pt x="150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1" y="55"/>
                      <a:pt x="153" y="55"/>
                      <a:pt x="154" y="54"/>
                    </a:cubicBezTo>
                    <a:cubicBezTo>
                      <a:pt x="157" y="52"/>
                      <a:pt x="159" y="48"/>
                      <a:pt x="157" y="44"/>
                    </a:cubicBezTo>
                    <a:cubicBezTo>
                      <a:pt x="155" y="41"/>
                      <a:pt x="150" y="40"/>
                      <a:pt x="147" y="42"/>
                    </a:cubicBezTo>
                    <a:cubicBezTo>
                      <a:pt x="146" y="43"/>
                      <a:pt x="145" y="44"/>
                      <a:pt x="144" y="45"/>
                    </a:cubicBezTo>
                    <a:cubicBezTo>
                      <a:pt x="144" y="45"/>
                      <a:pt x="144" y="45"/>
                      <a:pt x="144" y="45"/>
                    </a:cubicBezTo>
                    <a:cubicBezTo>
                      <a:pt x="143" y="49"/>
                      <a:pt x="141" y="51"/>
                      <a:pt x="138" y="53"/>
                    </a:cubicBezTo>
                    <a:cubicBezTo>
                      <a:pt x="119" y="20"/>
                      <a:pt x="119" y="20"/>
                      <a:pt x="119" y="20"/>
                    </a:cubicBezTo>
                    <a:cubicBezTo>
                      <a:pt x="81" y="20"/>
                      <a:pt x="81" y="20"/>
                      <a:pt x="81" y="20"/>
                    </a:cubicBezTo>
                    <a:cubicBezTo>
                      <a:pt x="81" y="17"/>
                      <a:pt x="83" y="14"/>
                      <a:pt x="85" y="11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6" y="10"/>
                      <a:pt x="86" y="8"/>
                      <a:pt x="86" y="7"/>
                    </a:cubicBezTo>
                    <a:cubicBezTo>
                      <a:pt x="86" y="3"/>
                      <a:pt x="83" y="0"/>
                      <a:pt x="79" y="0"/>
                    </a:cubicBezTo>
                    <a:cubicBezTo>
                      <a:pt x="76" y="0"/>
                      <a:pt x="72" y="3"/>
                      <a:pt x="72" y="7"/>
                    </a:cubicBezTo>
                    <a:cubicBezTo>
                      <a:pt x="72" y="8"/>
                      <a:pt x="73" y="10"/>
                      <a:pt x="74" y="11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6" y="14"/>
                      <a:pt x="77" y="17"/>
                      <a:pt x="77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21" y="53"/>
                      <a:pt x="21" y="53"/>
                      <a:pt x="21" y="53"/>
                    </a:cubicBezTo>
                    <a:cubicBezTo>
                      <a:pt x="18" y="51"/>
                      <a:pt x="16" y="49"/>
                      <a:pt x="1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4" y="44"/>
                      <a:pt x="13" y="43"/>
                      <a:pt x="12" y="42"/>
                    </a:cubicBezTo>
                    <a:cubicBezTo>
                      <a:pt x="8" y="40"/>
                      <a:pt x="4" y="41"/>
                      <a:pt x="2" y="44"/>
                    </a:cubicBezTo>
                    <a:cubicBezTo>
                      <a:pt x="0" y="48"/>
                      <a:pt x="1" y="52"/>
                      <a:pt x="5" y="54"/>
                    </a:cubicBezTo>
                    <a:cubicBezTo>
                      <a:pt x="6" y="55"/>
                      <a:pt x="7" y="55"/>
                      <a:pt x="9" y="55"/>
                    </a:cubicBezTo>
                    <a:cubicBezTo>
                      <a:pt x="9" y="55"/>
                      <a:pt x="9" y="55"/>
                      <a:pt x="9" y="55"/>
                    </a:cubicBezTo>
                    <a:cubicBezTo>
                      <a:pt x="13" y="54"/>
                      <a:pt x="16" y="55"/>
                      <a:pt x="19" y="56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6" y="123"/>
                      <a:pt x="13" y="124"/>
                      <a:pt x="9" y="123"/>
                    </a:cubicBezTo>
                    <a:cubicBezTo>
                      <a:pt x="9" y="123"/>
                      <a:pt x="9" y="123"/>
                      <a:pt x="9" y="123"/>
                    </a:cubicBezTo>
                    <a:cubicBezTo>
                      <a:pt x="7" y="123"/>
                      <a:pt x="6" y="123"/>
                      <a:pt x="5" y="124"/>
                    </a:cubicBezTo>
                    <a:cubicBezTo>
                      <a:pt x="1" y="126"/>
                      <a:pt x="0" y="130"/>
                      <a:pt x="2" y="134"/>
                    </a:cubicBezTo>
                    <a:cubicBezTo>
                      <a:pt x="4" y="137"/>
                      <a:pt x="8" y="138"/>
                      <a:pt x="12" y="136"/>
                    </a:cubicBezTo>
                    <a:cubicBezTo>
                      <a:pt x="13" y="135"/>
                      <a:pt x="14" y="134"/>
                      <a:pt x="14" y="133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16" y="129"/>
                      <a:pt x="18" y="127"/>
                      <a:pt x="20" y="12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77" y="159"/>
                      <a:pt x="77" y="159"/>
                      <a:pt x="77" y="159"/>
                    </a:cubicBezTo>
                    <a:cubicBezTo>
                      <a:pt x="77" y="162"/>
                      <a:pt x="76" y="164"/>
                      <a:pt x="74" y="167"/>
                    </a:cubicBezTo>
                    <a:cubicBezTo>
                      <a:pt x="74" y="167"/>
                      <a:pt x="74" y="167"/>
                      <a:pt x="74" y="167"/>
                    </a:cubicBezTo>
                    <a:cubicBezTo>
                      <a:pt x="73" y="168"/>
                      <a:pt x="72" y="170"/>
                      <a:pt x="72" y="171"/>
                    </a:cubicBezTo>
                    <a:cubicBezTo>
                      <a:pt x="72" y="175"/>
                      <a:pt x="75" y="178"/>
                      <a:pt x="79" y="178"/>
                    </a:cubicBezTo>
                    <a:cubicBezTo>
                      <a:pt x="83" y="178"/>
                      <a:pt x="86" y="175"/>
                      <a:pt x="86" y="171"/>
                    </a:cubicBezTo>
                    <a:cubicBezTo>
                      <a:pt x="86" y="170"/>
                      <a:pt x="86" y="168"/>
                      <a:pt x="85" y="167"/>
                    </a:cubicBezTo>
                    <a:cubicBezTo>
                      <a:pt x="85" y="167"/>
                      <a:pt x="85" y="167"/>
                      <a:pt x="85" y="167"/>
                    </a:cubicBezTo>
                    <a:cubicBezTo>
                      <a:pt x="83" y="164"/>
                      <a:pt x="82" y="162"/>
                      <a:pt x="81" y="159"/>
                    </a:cubicBezTo>
                    <a:cubicBezTo>
                      <a:pt x="119" y="159"/>
                      <a:pt x="119" y="159"/>
                      <a:pt x="119" y="159"/>
                    </a:cubicBezTo>
                    <a:cubicBezTo>
                      <a:pt x="139" y="126"/>
                      <a:pt x="139" y="126"/>
                      <a:pt x="139" y="126"/>
                    </a:cubicBezTo>
                    <a:cubicBezTo>
                      <a:pt x="141" y="127"/>
                      <a:pt x="143" y="130"/>
                      <a:pt x="144" y="133"/>
                    </a:cubicBezTo>
                    <a:cubicBezTo>
                      <a:pt x="144" y="133"/>
                      <a:pt x="144" y="133"/>
                      <a:pt x="144" y="133"/>
                    </a:cubicBezTo>
                    <a:cubicBezTo>
                      <a:pt x="145" y="134"/>
                      <a:pt x="146" y="135"/>
                      <a:pt x="147" y="136"/>
                    </a:cubicBezTo>
                    <a:cubicBezTo>
                      <a:pt x="150" y="138"/>
                      <a:pt x="155" y="137"/>
                      <a:pt x="157" y="134"/>
                    </a:cubicBezTo>
                    <a:cubicBezTo>
                      <a:pt x="159" y="130"/>
                      <a:pt x="157" y="126"/>
                      <a:pt x="154" y="124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lumMod val="100000"/>
                    </a:srgbClr>
                  </a:gs>
                  <a:gs pos="0">
                    <a:srgbClr val="D9D9DA"/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877"/>
              <p:cNvSpPr>
                <a:spLocks/>
              </p:cNvSpPr>
              <p:nvPr/>
            </p:nvSpPr>
            <p:spPr bwMode="auto">
              <a:xfrm>
                <a:off x="6176510" y="1864912"/>
                <a:ext cx="2107617" cy="1819538"/>
              </a:xfrm>
              <a:custGeom>
                <a:avLst/>
                <a:gdLst>
                  <a:gd name="T0" fmla="*/ 141 w 161"/>
                  <a:gd name="T1" fmla="*/ 37 h 139"/>
                  <a:gd name="T2" fmla="*/ 152 w 161"/>
                  <a:gd name="T3" fmla="*/ 36 h 139"/>
                  <a:gd name="T4" fmla="*/ 152 w 161"/>
                  <a:gd name="T5" fmla="*/ 36 h 139"/>
                  <a:gd name="T6" fmla="*/ 156 w 161"/>
                  <a:gd name="T7" fmla="*/ 35 h 139"/>
                  <a:gd name="T8" fmla="*/ 159 w 161"/>
                  <a:gd name="T9" fmla="*/ 25 h 139"/>
                  <a:gd name="T10" fmla="*/ 149 w 161"/>
                  <a:gd name="T11" fmla="*/ 23 h 139"/>
                  <a:gd name="T12" fmla="*/ 146 w 161"/>
                  <a:gd name="T13" fmla="*/ 26 h 139"/>
                  <a:gd name="T14" fmla="*/ 146 w 161"/>
                  <a:gd name="T15" fmla="*/ 26 h 139"/>
                  <a:gd name="T16" fmla="*/ 139 w 161"/>
                  <a:gd name="T17" fmla="*/ 34 h 139"/>
                  <a:gd name="T18" fmla="*/ 120 w 161"/>
                  <a:gd name="T19" fmla="*/ 0 h 139"/>
                  <a:gd name="T20" fmla="*/ 40 w 161"/>
                  <a:gd name="T21" fmla="*/ 0 h 139"/>
                  <a:gd name="T22" fmla="*/ 0 w 161"/>
                  <a:gd name="T23" fmla="*/ 70 h 139"/>
                  <a:gd name="T24" fmla="*/ 40 w 161"/>
                  <a:gd name="T25" fmla="*/ 139 h 139"/>
                  <a:gd name="T26" fmla="*/ 76 w 161"/>
                  <a:gd name="T27" fmla="*/ 139 h 139"/>
                  <a:gd name="T28" fmla="*/ 74 w 161"/>
                  <a:gd name="T29" fmla="*/ 135 h 139"/>
                  <a:gd name="T30" fmla="*/ 73 w 161"/>
                  <a:gd name="T31" fmla="*/ 133 h 139"/>
                  <a:gd name="T32" fmla="*/ 72 w 161"/>
                  <a:gd name="T33" fmla="*/ 132 h 139"/>
                  <a:gd name="T34" fmla="*/ 72 w 161"/>
                  <a:gd name="T35" fmla="*/ 129 h 139"/>
                  <a:gd name="T36" fmla="*/ 81 w 161"/>
                  <a:gd name="T37" fmla="*/ 120 h 139"/>
                  <a:gd name="T38" fmla="*/ 90 w 161"/>
                  <a:gd name="T39" fmla="*/ 129 h 139"/>
                  <a:gd name="T40" fmla="*/ 90 w 161"/>
                  <a:gd name="T41" fmla="*/ 132 h 139"/>
                  <a:gd name="T42" fmla="*/ 89 w 161"/>
                  <a:gd name="T43" fmla="*/ 133 h 139"/>
                  <a:gd name="T44" fmla="*/ 88 w 161"/>
                  <a:gd name="T45" fmla="*/ 135 h 139"/>
                  <a:gd name="T46" fmla="*/ 86 w 161"/>
                  <a:gd name="T47" fmla="*/ 139 h 139"/>
                  <a:gd name="T48" fmla="*/ 120 w 161"/>
                  <a:gd name="T49" fmla="*/ 139 h 139"/>
                  <a:gd name="T50" fmla="*/ 138 w 161"/>
                  <a:gd name="T51" fmla="*/ 108 h 139"/>
                  <a:gd name="T52" fmla="*/ 137 w 161"/>
                  <a:gd name="T53" fmla="*/ 108 h 139"/>
                  <a:gd name="T54" fmla="*/ 134 w 161"/>
                  <a:gd name="T55" fmla="*/ 108 h 139"/>
                  <a:gd name="T56" fmla="*/ 132 w 161"/>
                  <a:gd name="T57" fmla="*/ 108 h 139"/>
                  <a:gd name="T58" fmla="*/ 131 w 161"/>
                  <a:gd name="T59" fmla="*/ 107 h 139"/>
                  <a:gd name="T60" fmla="*/ 129 w 161"/>
                  <a:gd name="T61" fmla="*/ 107 h 139"/>
                  <a:gd name="T62" fmla="*/ 125 w 161"/>
                  <a:gd name="T63" fmla="*/ 94 h 139"/>
                  <a:gd name="T64" fmla="*/ 133 w 161"/>
                  <a:gd name="T65" fmla="*/ 90 h 139"/>
                  <a:gd name="T66" fmla="*/ 138 w 161"/>
                  <a:gd name="T67" fmla="*/ 91 h 139"/>
                  <a:gd name="T68" fmla="*/ 139 w 161"/>
                  <a:gd name="T69" fmla="*/ 92 h 139"/>
                  <a:gd name="T70" fmla="*/ 140 w 161"/>
                  <a:gd name="T71" fmla="*/ 93 h 139"/>
                  <a:gd name="T72" fmla="*/ 141 w 161"/>
                  <a:gd name="T73" fmla="*/ 95 h 139"/>
                  <a:gd name="T74" fmla="*/ 143 w 161"/>
                  <a:gd name="T75" fmla="*/ 99 h 139"/>
                  <a:gd name="T76" fmla="*/ 160 w 161"/>
                  <a:gd name="T77" fmla="*/ 70 h 139"/>
                  <a:gd name="T78" fmla="*/ 141 w 161"/>
                  <a:gd name="T79" fmla="*/ 37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" h="139">
                    <a:moveTo>
                      <a:pt x="141" y="37"/>
                    </a:moveTo>
                    <a:cubicBezTo>
                      <a:pt x="144" y="36"/>
                      <a:pt x="147" y="35"/>
                      <a:pt x="152" y="36"/>
                    </a:cubicBezTo>
                    <a:cubicBezTo>
                      <a:pt x="152" y="36"/>
                      <a:pt x="152" y="36"/>
                      <a:pt x="152" y="36"/>
                    </a:cubicBezTo>
                    <a:cubicBezTo>
                      <a:pt x="153" y="36"/>
                      <a:pt x="155" y="35"/>
                      <a:pt x="156" y="35"/>
                    </a:cubicBezTo>
                    <a:cubicBezTo>
                      <a:pt x="159" y="33"/>
                      <a:pt x="161" y="28"/>
                      <a:pt x="159" y="25"/>
                    </a:cubicBezTo>
                    <a:cubicBezTo>
                      <a:pt x="157" y="22"/>
                      <a:pt x="152" y="21"/>
                      <a:pt x="149" y="23"/>
                    </a:cubicBezTo>
                    <a:cubicBezTo>
                      <a:pt x="148" y="23"/>
                      <a:pt x="147" y="24"/>
                      <a:pt x="146" y="26"/>
                    </a:cubicBezTo>
                    <a:cubicBezTo>
                      <a:pt x="146" y="26"/>
                      <a:pt x="146" y="26"/>
                      <a:pt x="146" y="26"/>
                    </a:cubicBezTo>
                    <a:cubicBezTo>
                      <a:pt x="144" y="30"/>
                      <a:pt x="142" y="32"/>
                      <a:pt x="139" y="34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40" y="139"/>
                      <a:pt x="40" y="139"/>
                      <a:pt x="40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8"/>
                      <a:pt x="75" y="136"/>
                      <a:pt x="74" y="135"/>
                    </a:cubicBezTo>
                    <a:cubicBezTo>
                      <a:pt x="73" y="133"/>
                      <a:pt x="73" y="133"/>
                      <a:pt x="73" y="133"/>
                    </a:cubicBezTo>
                    <a:cubicBezTo>
                      <a:pt x="72" y="132"/>
                      <a:pt x="72" y="132"/>
                      <a:pt x="72" y="132"/>
                    </a:cubicBezTo>
                    <a:cubicBezTo>
                      <a:pt x="72" y="131"/>
                      <a:pt x="72" y="130"/>
                      <a:pt x="72" y="129"/>
                    </a:cubicBezTo>
                    <a:cubicBezTo>
                      <a:pt x="72" y="124"/>
                      <a:pt x="76" y="120"/>
                      <a:pt x="81" y="120"/>
                    </a:cubicBezTo>
                    <a:cubicBezTo>
                      <a:pt x="86" y="120"/>
                      <a:pt x="90" y="124"/>
                      <a:pt x="90" y="129"/>
                    </a:cubicBezTo>
                    <a:cubicBezTo>
                      <a:pt x="90" y="130"/>
                      <a:pt x="90" y="131"/>
                      <a:pt x="90" y="13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8" y="135"/>
                      <a:pt x="88" y="135"/>
                      <a:pt x="88" y="135"/>
                    </a:cubicBezTo>
                    <a:cubicBezTo>
                      <a:pt x="87" y="136"/>
                      <a:pt x="86" y="138"/>
                      <a:pt x="86" y="139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38" y="108"/>
                      <a:pt x="138" y="108"/>
                      <a:pt x="138" y="108"/>
                    </a:cubicBezTo>
                    <a:cubicBezTo>
                      <a:pt x="138" y="108"/>
                      <a:pt x="137" y="108"/>
                      <a:pt x="137" y="108"/>
                    </a:cubicBezTo>
                    <a:cubicBezTo>
                      <a:pt x="136" y="108"/>
                      <a:pt x="135" y="108"/>
                      <a:pt x="134" y="108"/>
                    </a:cubicBezTo>
                    <a:cubicBezTo>
                      <a:pt x="132" y="108"/>
                      <a:pt x="132" y="108"/>
                      <a:pt x="132" y="108"/>
                    </a:cubicBezTo>
                    <a:cubicBezTo>
                      <a:pt x="131" y="107"/>
                      <a:pt x="131" y="107"/>
                      <a:pt x="131" y="107"/>
                    </a:cubicBezTo>
                    <a:cubicBezTo>
                      <a:pt x="130" y="107"/>
                      <a:pt x="129" y="107"/>
                      <a:pt x="129" y="107"/>
                    </a:cubicBezTo>
                    <a:cubicBezTo>
                      <a:pt x="124" y="104"/>
                      <a:pt x="123" y="99"/>
                      <a:pt x="125" y="94"/>
                    </a:cubicBezTo>
                    <a:cubicBezTo>
                      <a:pt x="127" y="92"/>
                      <a:pt x="130" y="90"/>
                      <a:pt x="133" y="90"/>
                    </a:cubicBezTo>
                    <a:cubicBezTo>
                      <a:pt x="135" y="90"/>
                      <a:pt x="136" y="90"/>
                      <a:pt x="138" y="91"/>
                    </a:cubicBezTo>
                    <a:cubicBezTo>
                      <a:pt x="138" y="91"/>
                      <a:pt x="139" y="92"/>
                      <a:pt x="139" y="92"/>
                    </a:cubicBezTo>
                    <a:cubicBezTo>
                      <a:pt x="140" y="93"/>
                      <a:pt x="140" y="93"/>
                      <a:pt x="140" y="93"/>
                    </a:cubicBezTo>
                    <a:cubicBezTo>
                      <a:pt x="141" y="95"/>
                      <a:pt x="141" y="95"/>
                      <a:pt x="141" y="95"/>
                    </a:cubicBezTo>
                    <a:cubicBezTo>
                      <a:pt x="142" y="97"/>
                      <a:pt x="143" y="98"/>
                      <a:pt x="143" y="99"/>
                    </a:cubicBezTo>
                    <a:cubicBezTo>
                      <a:pt x="160" y="70"/>
                      <a:pt x="160" y="70"/>
                      <a:pt x="160" y="70"/>
                    </a:cubicBezTo>
                    <a:lnTo>
                      <a:pt x="141" y="37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lumMod val="100000"/>
                    </a:srgbClr>
                  </a:gs>
                  <a:gs pos="0">
                    <a:srgbClr val="D9D9DA"/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Freeform 1887"/>
              <p:cNvSpPr>
                <a:spLocks/>
              </p:cNvSpPr>
              <p:nvPr/>
            </p:nvSpPr>
            <p:spPr bwMode="auto">
              <a:xfrm>
                <a:off x="6189755" y="3462595"/>
                <a:ext cx="2094372" cy="2094372"/>
              </a:xfrm>
              <a:custGeom>
                <a:avLst/>
                <a:gdLst>
                  <a:gd name="T0" fmla="*/ 142 w 160"/>
                  <a:gd name="T1" fmla="*/ 60 h 160"/>
                  <a:gd name="T2" fmla="*/ 140 w 160"/>
                  <a:gd name="T3" fmla="*/ 63 h 160"/>
                  <a:gd name="T4" fmla="*/ 139 w 160"/>
                  <a:gd name="T5" fmla="*/ 65 h 160"/>
                  <a:gd name="T6" fmla="*/ 138 w 160"/>
                  <a:gd name="T7" fmla="*/ 66 h 160"/>
                  <a:gd name="T8" fmla="*/ 137 w 160"/>
                  <a:gd name="T9" fmla="*/ 67 h 160"/>
                  <a:gd name="T10" fmla="*/ 132 w 160"/>
                  <a:gd name="T11" fmla="*/ 68 h 160"/>
                  <a:gd name="T12" fmla="*/ 124 w 160"/>
                  <a:gd name="T13" fmla="*/ 64 h 160"/>
                  <a:gd name="T14" fmla="*/ 128 w 160"/>
                  <a:gd name="T15" fmla="*/ 51 h 160"/>
                  <a:gd name="T16" fmla="*/ 129 w 160"/>
                  <a:gd name="T17" fmla="*/ 51 h 160"/>
                  <a:gd name="T18" fmla="*/ 131 w 160"/>
                  <a:gd name="T19" fmla="*/ 50 h 160"/>
                  <a:gd name="T20" fmla="*/ 133 w 160"/>
                  <a:gd name="T21" fmla="*/ 50 h 160"/>
                  <a:gd name="T22" fmla="*/ 136 w 160"/>
                  <a:gd name="T23" fmla="*/ 50 h 160"/>
                  <a:gd name="T24" fmla="*/ 136 w 160"/>
                  <a:gd name="T25" fmla="*/ 50 h 160"/>
                  <a:gd name="T26" fmla="*/ 120 w 160"/>
                  <a:gd name="T27" fmla="*/ 22 h 160"/>
                  <a:gd name="T28" fmla="*/ 82 w 160"/>
                  <a:gd name="T29" fmla="*/ 22 h 160"/>
                  <a:gd name="T30" fmla="*/ 86 w 160"/>
                  <a:gd name="T31" fmla="*/ 12 h 160"/>
                  <a:gd name="T32" fmla="*/ 86 w 160"/>
                  <a:gd name="T33" fmla="*/ 12 h 160"/>
                  <a:gd name="T34" fmla="*/ 87 w 160"/>
                  <a:gd name="T35" fmla="*/ 7 h 160"/>
                  <a:gd name="T36" fmla="*/ 80 w 160"/>
                  <a:gd name="T37" fmla="*/ 0 h 160"/>
                  <a:gd name="T38" fmla="*/ 73 w 160"/>
                  <a:gd name="T39" fmla="*/ 7 h 160"/>
                  <a:gd name="T40" fmla="*/ 74 w 160"/>
                  <a:gd name="T41" fmla="*/ 12 h 160"/>
                  <a:gd name="T42" fmla="*/ 74 w 160"/>
                  <a:gd name="T43" fmla="*/ 12 h 160"/>
                  <a:gd name="T44" fmla="*/ 78 w 160"/>
                  <a:gd name="T45" fmla="*/ 22 h 160"/>
                  <a:gd name="T46" fmla="*/ 40 w 160"/>
                  <a:gd name="T47" fmla="*/ 22 h 160"/>
                  <a:gd name="T48" fmla="*/ 0 w 160"/>
                  <a:gd name="T49" fmla="*/ 91 h 160"/>
                  <a:gd name="T50" fmla="*/ 40 w 160"/>
                  <a:gd name="T51" fmla="*/ 160 h 160"/>
                  <a:gd name="T52" fmla="*/ 120 w 160"/>
                  <a:gd name="T53" fmla="*/ 160 h 160"/>
                  <a:gd name="T54" fmla="*/ 138 w 160"/>
                  <a:gd name="T55" fmla="*/ 129 h 160"/>
                  <a:gd name="T56" fmla="*/ 135 w 160"/>
                  <a:gd name="T57" fmla="*/ 129 h 160"/>
                  <a:gd name="T58" fmla="*/ 132 w 160"/>
                  <a:gd name="T59" fmla="*/ 129 h 160"/>
                  <a:gd name="T60" fmla="*/ 130 w 160"/>
                  <a:gd name="T61" fmla="*/ 129 h 160"/>
                  <a:gd name="T62" fmla="*/ 129 w 160"/>
                  <a:gd name="T63" fmla="*/ 128 h 160"/>
                  <a:gd name="T64" fmla="*/ 127 w 160"/>
                  <a:gd name="T65" fmla="*/ 128 h 160"/>
                  <a:gd name="T66" fmla="*/ 123 w 160"/>
                  <a:gd name="T67" fmla="*/ 122 h 160"/>
                  <a:gd name="T68" fmla="*/ 124 w 160"/>
                  <a:gd name="T69" fmla="*/ 115 h 160"/>
                  <a:gd name="T70" fmla="*/ 131 w 160"/>
                  <a:gd name="T71" fmla="*/ 111 h 160"/>
                  <a:gd name="T72" fmla="*/ 136 w 160"/>
                  <a:gd name="T73" fmla="*/ 112 h 160"/>
                  <a:gd name="T74" fmla="*/ 138 w 160"/>
                  <a:gd name="T75" fmla="*/ 113 h 160"/>
                  <a:gd name="T76" fmla="*/ 139 w 160"/>
                  <a:gd name="T77" fmla="*/ 115 h 160"/>
                  <a:gd name="T78" fmla="*/ 140 w 160"/>
                  <a:gd name="T79" fmla="*/ 116 h 160"/>
                  <a:gd name="T80" fmla="*/ 142 w 160"/>
                  <a:gd name="T81" fmla="*/ 121 h 160"/>
                  <a:gd name="T82" fmla="*/ 160 w 160"/>
                  <a:gd name="T83" fmla="*/ 91 h 160"/>
                  <a:gd name="T84" fmla="*/ 142 w 160"/>
                  <a:gd name="T85" fmla="*/ 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0" h="160">
                    <a:moveTo>
                      <a:pt x="142" y="60"/>
                    </a:moveTo>
                    <a:cubicBezTo>
                      <a:pt x="141" y="61"/>
                      <a:pt x="141" y="62"/>
                      <a:pt x="140" y="63"/>
                    </a:cubicBezTo>
                    <a:cubicBezTo>
                      <a:pt x="139" y="65"/>
                      <a:pt x="139" y="65"/>
                      <a:pt x="139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8" y="66"/>
                      <a:pt x="137" y="67"/>
                      <a:pt x="137" y="67"/>
                    </a:cubicBezTo>
                    <a:cubicBezTo>
                      <a:pt x="135" y="68"/>
                      <a:pt x="134" y="68"/>
                      <a:pt x="132" y="68"/>
                    </a:cubicBezTo>
                    <a:cubicBezTo>
                      <a:pt x="129" y="68"/>
                      <a:pt x="126" y="66"/>
                      <a:pt x="124" y="64"/>
                    </a:cubicBezTo>
                    <a:cubicBezTo>
                      <a:pt x="122" y="59"/>
                      <a:pt x="123" y="54"/>
                      <a:pt x="128" y="51"/>
                    </a:cubicBezTo>
                    <a:cubicBezTo>
                      <a:pt x="128" y="51"/>
                      <a:pt x="129" y="51"/>
                      <a:pt x="129" y="51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3" y="50"/>
                      <a:pt x="133" y="50"/>
                      <a:pt x="133" y="50"/>
                    </a:cubicBezTo>
                    <a:cubicBezTo>
                      <a:pt x="134" y="50"/>
                      <a:pt x="135" y="50"/>
                      <a:pt x="136" y="50"/>
                    </a:cubicBezTo>
                    <a:cubicBezTo>
                      <a:pt x="136" y="50"/>
                      <a:pt x="136" y="50"/>
                      <a:pt x="136" y="50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2" y="18"/>
                      <a:pt x="83" y="15"/>
                      <a:pt x="86" y="12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6" y="10"/>
                      <a:pt x="87" y="9"/>
                      <a:pt x="87" y="7"/>
                    </a:cubicBezTo>
                    <a:cubicBezTo>
                      <a:pt x="87" y="4"/>
                      <a:pt x="84" y="0"/>
                      <a:pt x="80" y="0"/>
                    </a:cubicBezTo>
                    <a:cubicBezTo>
                      <a:pt x="76" y="0"/>
                      <a:pt x="73" y="4"/>
                      <a:pt x="73" y="7"/>
                    </a:cubicBezTo>
                    <a:cubicBezTo>
                      <a:pt x="73" y="9"/>
                      <a:pt x="73" y="10"/>
                      <a:pt x="74" y="12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77" y="15"/>
                      <a:pt x="78" y="18"/>
                      <a:pt x="78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120" y="160"/>
                      <a:pt x="120" y="160"/>
                      <a:pt x="120" y="160"/>
                    </a:cubicBezTo>
                    <a:cubicBezTo>
                      <a:pt x="138" y="129"/>
                      <a:pt x="138" y="129"/>
                      <a:pt x="138" y="129"/>
                    </a:cubicBezTo>
                    <a:cubicBezTo>
                      <a:pt x="137" y="129"/>
                      <a:pt x="136" y="129"/>
                      <a:pt x="135" y="129"/>
                    </a:cubicBezTo>
                    <a:cubicBezTo>
                      <a:pt x="134" y="129"/>
                      <a:pt x="133" y="129"/>
                      <a:pt x="132" y="129"/>
                    </a:cubicBezTo>
                    <a:cubicBezTo>
                      <a:pt x="130" y="129"/>
                      <a:pt x="130" y="129"/>
                      <a:pt x="130" y="129"/>
                    </a:cubicBezTo>
                    <a:cubicBezTo>
                      <a:pt x="129" y="128"/>
                      <a:pt x="129" y="128"/>
                      <a:pt x="129" y="128"/>
                    </a:cubicBezTo>
                    <a:cubicBezTo>
                      <a:pt x="128" y="128"/>
                      <a:pt x="128" y="128"/>
                      <a:pt x="127" y="128"/>
                    </a:cubicBezTo>
                    <a:cubicBezTo>
                      <a:pt x="125" y="126"/>
                      <a:pt x="123" y="124"/>
                      <a:pt x="123" y="122"/>
                    </a:cubicBezTo>
                    <a:cubicBezTo>
                      <a:pt x="122" y="120"/>
                      <a:pt x="122" y="117"/>
                      <a:pt x="124" y="115"/>
                    </a:cubicBezTo>
                    <a:cubicBezTo>
                      <a:pt x="125" y="113"/>
                      <a:pt x="128" y="111"/>
                      <a:pt x="131" y="111"/>
                    </a:cubicBezTo>
                    <a:cubicBezTo>
                      <a:pt x="133" y="111"/>
                      <a:pt x="135" y="111"/>
                      <a:pt x="136" y="112"/>
                    </a:cubicBezTo>
                    <a:cubicBezTo>
                      <a:pt x="137" y="112"/>
                      <a:pt x="137" y="113"/>
                      <a:pt x="138" y="113"/>
                    </a:cubicBezTo>
                    <a:cubicBezTo>
                      <a:pt x="139" y="115"/>
                      <a:pt x="139" y="115"/>
                      <a:pt x="139" y="115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8"/>
                      <a:pt x="141" y="120"/>
                      <a:pt x="142" y="121"/>
                    </a:cubicBezTo>
                    <a:cubicBezTo>
                      <a:pt x="160" y="91"/>
                      <a:pt x="160" y="91"/>
                      <a:pt x="160" y="91"/>
                    </a:cubicBezTo>
                    <a:lnTo>
                      <a:pt x="142" y="60"/>
                    </a:lnTo>
                    <a:close/>
                  </a:path>
                </a:pathLst>
              </a:custGeom>
              <a:solidFill>
                <a:srgbClr val="FFC000"/>
              </a:solidFill>
              <a:ln w="19050">
                <a:solidFill>
                  <a:schemeClr val="accent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Freeform 1897"/>
              <p:cNvSpPr>
                <a:spLocks/>
              </p:cNvSpPr>
              <p:nvPr/>
            </p:nvSpPr>
            <p:spPr bwMode="auto">
              <a:xfrm>
                <a:off x="7799027" y="4679483"/>
                <a:ext cx="2109273" cy="1807948"/>
              </a:xfrm>
              <a:custGeom>
                <a:avLst/>
                <a:gdLst>
                  <a:gd name="T0" fmla="*/ 143 w 161"/>
                  <a:gd name="T1" fmla="*/ 37 h 138"/>
                  <a:gd name="T2" fmla="*/ 140 w 161"/>
                  <a:gd name="T3" fmla="*/ 42 h 138"/>
                  <a:gd name="T4" fmla="*/ 139 w 161"/>
                  <a:gd name="T5" fmla="*/ 44 h 138"/>
                  <a:gd name="T6" fmla="*/ 138 w 161"/>
                  <a:gd name="T7" fmla="*/ 45 h 138"/>
                  <a:gd name="T8" fmla="*/ 136 w 161"/>
                  <a:gd name="T9" fmla="*/ 46 h 138"/>
                  <a:gd name="T10" fmla="*/ 131 w 161"/>
                  <a:gd name="T11" fmla="*/ 47 h 138"/>
                  <a:gd name="T12" fmla="*/ 124 w 161"/>
                  <a:gd name="T13" fmla="*/ 43 h 138"/>
                  <a:gd name="T14" fmla="*/ 123 w 161"/>
                  <a:gd name="T15" fmla="*/ 36 h 138"/>
                  <a:gd name="T16" fmla="*/ 127 w 161"/>
                  <a:gd name="T17" fmla="*/ 31 h 138"/>
                  <a:gd name="T18" fmla="*/ 129 w 161"/>
                  <a:gd name="T19" fmla="*/ 30 h 138"/>
                  <a:gd name="T20" fmla="*/ 130 w 161"/>
                  <a:gd name="T21" fmla="*/ 30 h 138"/>
                  <a:gd name="T22" fmla="*/ 132 w 161"/>
                  <a:gd name="T23" fmla="*/ 29 h 138"/>
                  <a:gd name="T24" fmla="*/ 135 w 161"/>
                  <a:gd name="T25" fmla="*/ 30 h 138"/>
                  <a:gd name="T26" fmla="*/ 138 w 161"/>
                  <a:gd name="T27" fmla="*/ 29 h 138"/>
                  <a:gd name="T28" fmla="*/ 121 w 161"/>
                  <a:gd name="T29" fmla="*/ 0 h 138"/>
                  <a:gd name="T30" fmla="*/ 86 w 161"/>
                  <a:gd name="T31" fmla="*/ 0 h 138"/>
                  <a:gd name="T32" fmla="*/ 88 w 161"/>
                  <a:gd name="T33" fmla="*/ 2 h 138"/>
                  <a:gd name="T34" fmla="*/ 88 w 161"/>
                  <a:gd name="T35" fmla="*/ 4 h 138"/>
                  <a:gd name="T36" fmla="*/ 89 w 161"/>
                  <a:gd name="T37" fmla="*/ 5 h 138"/>
                  <a:gd name="T38" fmla="*/ 89 w 161"/>
                  <a:gd name="T39" fmla="*/ 7 h 138"/>
                  <a:gd name="T40" fmla="*/ 80 w 161"/>
                  <a:gd name="T41" fmla="*/ 16 h 138"/>
                  <a:gd name="T42" fmla="*/ 71 w 161"/>
                  <a:gd name="T43" fmla="*/ 7 h 138"/>
                  <a:gd name="T44" fmla="*/ 71 w 161"/>
                  <a:gd name="T45" fmla="*/ 6 h 138"/>
                  <a:gd name="T46" fmla="*/ 72 w 161"/>
                  <a:gd name="T47" fmla="*/ 4 h 138"/>
                  <a:gd name="T48" fmla="*/ 73 w 161"/>
                  <a:gd name="T49" fmla="*/ 2 h 138"/>
                  <a:gd name="T50" fmla="*/ 75 w 161"/>
                  <a:gd name="T51" fmla="*/ 0 h 138"/>
                  <a:gd name="T52" fmla="*/ 41 w 161"/>
                  <a:gd name="T53" fmla="*/ 0 h 138"/>
                  <a:gd name="T54" fmla="*/ 22 w 161"/>
                  <a:gd name="T55" fmla="*/ 32 h 138"/>
                  <a:gd name="T56" fmla="*/ 15 w 161"/>
                  <a:gd name="T57" fmla="*/ 24 h 138"/>
                  <a:gd name="T58" fmla="*/ 15 w 161"/>
                  <a:gd name="T59" fmla="*/ 24 h 138"/>
                  <a:gd name="T60" fmla="*/ 12 w 161"/>
                  <a:gd name="T61" fmla="*/ 21 h 138"/>
                  <a:gd name="T62" fmla="*/ 2 w 161"/>
                  <a:gd name="T63" fmla="*/ 23 h 138"/>
                  <a:gd name="T64" fmla="*/ 5 w 161"/>
                  <a:gd name="T65" fmla="*/ 33 h 138"/>
                  <a:gd name="T66" fmla="*/ 9 w 161"/>
                  <a:gd name="T67" fmla="*/ 34 h 138"/>
                  <a:gd name="T68" fmla="*/ 9 w 161"/>
                  <a:gd name="T69" fmla="*/ 34 h 138"/>
                  <a:gd name="T70" fmla="*/ 20 w 161"/>
                  <a:gd name="T71" fmla="*/ 36 h 138"/>
                  <a:gd name="T72" fmla="*/ 1 w 161"/>
                  <a:gd name="T73" fmla="*/ 69 h 138"/>
                  <a:gd name="T74" fmla="*/ 41 w 161"/>
                  <a:gd name="T75" fmla="*/ 138 h 138"/>
                  <a:gd name="T76" fmla="*/ 121 w 161"/>
                  <a:gd name="T77" fmla="*/ 138 h 138"/>
                  <a:gd name="T78" fmla="*/ 161 w 161"/>
                  <a:gd name="T79" fmla="*/ 69 h 138"/>
                  <a:gd name="T80" fmla="*/ 143 w 161"/>
                  <a:gd name="T81" fmla="*/ 37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1" h="138">
                    <a:moveTo>
                      <a:pt x="143" y="37"/>
                    </a:moveTo>
                    <a:cubicBezTo>
                      <a:pt x="142" y="38"/>
                      <a:pt x="141" y="40"/>
                      <a:pt x="140" y="42"/>
                    </a:cubicBezTo>
                    <a:cubicBezTo>
                      <a:pt x="139" y="44"/>
                      <a:pt x="139" y="44"/>
                      <a:pt x="139" y="44"/>
                    </a:cubicBezTo>
                    <a:cubicBezTo>
                      <a:pt x="138" y="45"/>
                      <a:pt x="138" y="45"/>
                      <a:pt x="138" y="45"/>
                    </a:cubicBezTo>
                    <a:cubicBezTo>
                      <a:pt x="137" y="45"/>
                      <a:pt x="137" y="46"/>
                      <a:pt x="136" y="46"/>
                    </a:cubicBezTo>
                    <a:cubicBezTo>
                      <a:pt x="135" y="47"/>
                      <a:pt x="133" y="47"/>
                      <a:pt x="131" y="47"/>
                    </a:cubicBezTo>
                    <a:cubicBezTo>
                      <a:pt x="128" y="47"/>
                      <a:pt x="125" y="46"/>
                      <a:pt x="124" y="43"/>
                    </a:cubicBezTo>
                    <a:cubicBezTo>
                      <a:pt x="122" y="41"/>
                      <a:pt x="122" y="38"/>
                      <a:pt x="123" y="36"/>
                    </a:cubicBezTo>
                    <a:cubicBezTo>
                      <a:pt x="123" y="34"/>
                      <a:pt x="125" y="32"/>
                      <a:pt x="127" y="31"/>
                    </a:cubicBezTo>
                    <a:cubicBezTo>
                      <a:pt x="128" y="30"/>
                      <a:pt x="128" y="30"/>
                      <a:pt x="129" y="30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3" y="30"/>
                      <a:pt x="134" y="30"/>
                      <a:pt x="135" y="30"/>
                    </a:cubicBezTo>
                    <a:cubicBezTo>
                      <a:pt x="136" y="30"/>
                      <a:pt x="137" y="29"/>
                      <a:pt x="138" y="29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7" y="0"/>
                      <a:pt x="87" y="1"/>
                      <a:pt x="88" y="2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89" y="6"/>
                      <a:pt x="89" y="7"/>
                      <a:pt x="89" y="7"/>
                    </a:cubicBezTo>
                    <a:cubicBezTo>
                      <a:pt x="89" y="12"/>
                      <a:pt x="85" y="16"/>
                      <a:pt x="80" y="16"/>
                    </a:cubicBezTo>
                    <a:cubicBezTo>
                      <a:pt x="75" y="16"/>
                      <a:pt x="71" y="12"/>
                      <a:pt x="71" y="7"/>
                    </a:cubicBezTo>
                    <a:cubicBezTo>
                      <a:pt x="71" y="7"/>
                      <a:pt x="71" y="6"/>
                      <a:pt x="71" y="6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4" y="1"/>
                      <a:pt x="74" y="0"/>
                      <a:pt x="75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9" y="31"/>
                      <a:pt x="17" y="28"/>
                      <a:pt x="15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3"/>
                      <a:pt x="13" y="22"/>
                      <a:pt x="12" y="21"/>
                    </a:cubicBezTo>
                    <a:cubicBezTo>
                      <a:pt x="9" y="19"/>
                      <a:pt x="4" y="20"/>
                      <a:pt x="2" y="23"/>
                    </a:cubicBezTo>
                    <a:cubicBezTo>
                      <a:pt x="0" y="27"/>
                      <a:pt x="2" y="31"/>
                      <a:pt x="5" y="33"/>
                    </a:cubicBezTo>
                    <a:cubicBezTo>
                      <a:pt x="6" y="34"/>
                      <a:pt x="8" y="34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14" y="33"/>
                      <a:pt x="17" y="34"/>
                      <a:pt x="20" y="36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121" y="138"/>
                      <a:pt x="121" y="138"/>
                      <a:pt x="121" y="138"/>
                    </a:cubicBezTo>
                    <a:cubicBezTo>
                      <a:pt x="161" y="69"/>
                      <a:pt x="161" y="69"/>
                      <a:pt x="161" y="69"/>
                    </a:cubicBezTo>
                    <a:lnTo>
                      <a:pt x="143" y="37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lumMod val="100000"/>
                    </a:srgbClr>
                  </a:gs>
                  <a:gs pos="0">
                    <a:srgbClr val="D9D9DA"/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Freeform 1907"/>
              <p:cNvSpPr>
                <a:spLocks/>
              </p:cNvSpPr>
              <p:nvPr/>
            </p:nvSpPr>
            <p:spPr bwMode="auto">
              <a:xfrm>
                <a:off x="9409955" y="3724184"/>
                <a:ext cx="2122518" cy="1819538"/>
              </a:xfrm>
              <a:custGeom>
                <a:avLst/>
                <a:gdLst>
                  <a:gd name="T0" fmla="*/ 122 w 162"/>
                  <a:gd name="T1" fmla="*/ 0 h 139"/>
                  <a:gd name="T2" fmla="*/ 85 w 162"/>
                  <a:gd name="T3" fmla="*/ 0 h 139"/>
                  <a:gd name="T4" fmla="*/ 87 w 162"/>
                  <a:gd name="T5" fmla="*/ 5 h 139"/>
                  <a:gd name="T6" fmla="*/ 88 w 162"/>
                  <a:gd name="T7" fmla="*/ 7 h 139"/>
                  <a:gd name="T8" fmla="*/ 89 w 162"/>
                  <a:gd name="T9" fmla="*/ 8 h 139"/>
                  <a:gd name="T10" fmla="*/ 89 w 162"/>
                  <a:gd name="T11" fmla="*/ 11 h 139"/>
                  <a:gd name="T12" fmla="*/ 80 w 162"/>
                  <a:gd name="T13" fmla="*/ 20 h 139"/>
                  <a:gd name="T14" fmla="*/ 71 w 162"/>
                  <a:gd name="T15" fmla="*/ 11 h 139"/>
                  <a:gd name="T16" fmla="*/ 71 w 162"/>
                  <a:gd name="T17" fmla="*/ 9 h 139"/>
                  <a:gd name="T18" fmla="*/ 72 w 162"/>
                  <a:gd name="T19" fmla="*/ 7 h 139"/>
                  <a:gd name="T20" fmla="*/ 73 w 162"/>
                  <a:gd name="T21" fmla="*/ 5 h 139"/>
                  <a:gd name="T22" fmla="*/ 75 w 162"/>
                  <a:gd name="T23" fmla="*/ 0 h 139"/>
                  <a:gd name="T24" fmla="*/ 42 w 162"/>
                  <a:gd name="T25" fmla="*/ 0 h 139"/>
                  <a:gd name="T26" fmla="*/ 25 w 162"/>
                  <a:gd name="T27" fmla="*/ 30 h 139"/>
                  <a:gd name="T28" fmla="*/ 25 w 162"/>
                  <a:gd name="T29" fmla="*/ 30 h 139"/>
                  <a:gd name="T30" fmla="*/ 28 w 162"/>
                  <a:gd name="T31" fmla="*/ 30 h 139"/>
                  <a:gd name="T32" fmla="*/ 30 w 162"/>
                  <a:gd name="T33" fmla="*/ 30 h 139"/>
                  <a:gd name="T34" fmla="*/ 31 w 162"/>
                  <a:gd name="T35" fmla="*/ 31 h 139"/>
                  <a:gd name="T36" fmla="*/ 33 w 162"/>
                  <a:gd name="T37" fmla="*/ 31 h 139"/>
                  <a:gd name="T38" fmla="*/ 37 w 162"/>
                  <a:gd name="T39" fmla="*/ 37 h 139"/>
                  <a:gd name="T40" fmla="*/ 36 w 162"/>
                  <a:gd name="T41" fmla="*/ 44 h 139"/>
                  <a:gd name="T42" fmla="*/ 29 w 162"/>
                  <a:gd name="T43" fmla="*/ 48 h 139"/>
                  <a:gd name="T44" fmla="*/ 24 w 162"/>
                  <a:gd name="T45" fmla="*/ 47 h 139"/>
                  <a:gd name="T46" fmla="*/ 23 w 162"/>
                  <a:gd name="T47" fmla="*/ 46 h 139"/>
                  <a:gd name="T48" fmla="*/ 22 w 162"/>
                  <a:gd name="T49" fmla="*/ 45 h 139"/>
                  <a:gd name="T50" fmla="*/ 20 w 162"/>
                  <a:gd name="T51" fmla="*/ 43 h 139"/>
                  <a:gd name="T52" fmla="*/ 19 w 162"/>
                  <a:gd name="T53" fmla="*/ 40 h 139"/>
                  <a:gd name="T54" fmla="*/ 2 w 162"/>
                  <a:gd name="T55" fmla="*/ 70 h 139"/>
                  <a:gd name="T56" fmla="*/ 21 w 162"/>
                  <a:gd name="T57" fmla="*/ 102 h 139"/>
                  <a:gd name="T58" fmla="*/ 9 w 162"/>
                  <a:gd name="T59" fmla="*/ 104 h 139"/>
                  <a:gd name="T60" fmla="*/ 9 w 162"/>
                  <a:gd name="T61" fmla="*/ 104 h 139"/>
                  <a:gd name="T62" fmla="*/ 5 w 162"/>
                  <a:gd name="T63" fmla="*/ 105 h 139"/>
                  <a:gd name="T64" fmla="*/ 2 w 162"/>
                  <a:gd name="T65" fmla="*/ 115 h 139"/>
                  <a:gd name="T66" fmla="*/ 12 w 162"/>
                  <a:gd name="T67" fmla="*/ 117 h 139"/>
                  <a:gd name="T68" fmla="*/ 15 w 162"/>
                  <a:gd name="T69" fmla="*/ 114 h 139"/>
                  <a:gd name="T70" fmla="*/ 15 w 162"/>
                  <a:gd name="T71" fmla="*/ 114 h 139"/>
                  <a:gd name="T72" fmla="*/ 23 w 162"/>
                  <a:gd name="T73" fmla="*/ 106 h 139"/>
                  <a:gd name="T74" fmla="*/ 42 w 162"/>
                  <a:gd name="T75" fmla="*/ 139 h 139"/>
                  <a:gd name="T76" fmla="*/ 122 w 162"/>
                  <a:gd name="T77" fmla="*/ 139 h 139"/>
                  <a:gd name="T78" fmla="*/ 162 w 162"/>
                  <a:gd name="T79" fmla="*/ 70 h 139"/>
                  <a:gd name="T80" fmla="*/ 122 w 162"/>
                  <a:gd name="T81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2" h="139">
                    <a:moveTo>
                      <a:pt x="122" y="0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5" y="2"/>
                      <a:pt x="86" y="4"/>
                      <a:pt x="87" y="5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89" y="9"/>
                      <a:pt x="89" y="10"/>
                      <a:pt x="89" y="11"/>
                    </a:cubicBezTo>
                    <a:cubicBezTo>
                      <a:pt x="89" y="16"/>
                      <a:pt x="85" y="20"/>
                      <a:pt x="80" y="20"/>
                    </a:cubicBezTo>
                    <a:cubicBezTo>
                      <a:pt x="75" y="20"/>
                      <a:pt x="71" y="16"/>
                      <a:pt x="71" y="11"/>
                    </a:cubicBezTo>
                    <a:cubicBezTo>
                      <a:pt x="71" y="10"/>
                      <a:pt x="71" y="9"/>
                      <a:pt x="71" y="9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4" y="4"/>
                      <a:pt x="75" y="2"/>
                      <a:pt x="75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6" y="30"/>
                      <a:pt x="27" y="30"/>
                      <a:pt x="28" y="30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32" y="31"/>
                      <a:pt x="32" y="31"/>
                      <a:pt x="33" y="31"/>
                    </a:cubicBezTo>
                    <a:cubicBezTo>
                      <a:pt x="35" y="33"/>
                      <a:pt x="37" y="35"/>
                      <a:pt x="37" y="37"/>
                    </a:cubicBezTo>
                    <a:cubicBezTo>
                      <a:pt x="38" y="39"/>
                      <a:pt x="38" y="42"/>
                      <a:pt x="36" y="44"/>
                    </a:cubicBezTo>
                    <a:cubicBezTo>
                      <a:pt x="35" y="46"/>
                      <a:pt x="32" y="48"/>
                      <a:pt x="29" y="48"/>
                    </a:cubicBezTo>
                    <a:cubicBezTo>
                      <a:pt x="27" y="48"/>
                      <a:pt x="25" y="48"/>
                      <a:pt x="24" y="47"/>
                    </a:cubicBezTo>
                    <a:cubicBezTo>
                      <a:pt x="24" y="47"/>
                      <a:pt x="23" y="46"/>
                      <a:pt x="23" y="46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0" y="42"/>
                      <a:pt x="19" y="41"/>
                      <a:pt x="19" y="40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21" y="102"/>
                      <a:pt x="21" y="102"/>
                      <a:pt x="21" y="102"/>
                    </a:cubicBezTo>
                    <a:cubicBezTo>
                      <a:pt x="18" y="104"/>
                      <a:pt x="14" y="105"/>
                      <a:pt x="9" y="104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8" y="104"/>
                      <a:pt x="6" y="105"/>
                      <a:pt x="5" y="105"/>
                    </a:cubicBezTo>
                    <a:cubicBezTo>
                      <a:pt x="2" y="107"/>
                      <a:pt x="0" y="112"/>
                      <a:pt x="2" y="115"/>
                    </a:cubicBezTo>
                    <a:cubicBezTo>
                      <a:pt x="4" y="118"/>
                      <a:pt x="9" y="119"/>
                      <a:pt x="12" y="117"/>
                    </a:cubicBezTo>
                    <a:cubicBezTo>
                      <a:pt x="13" y="117"/>
                      <a:pt x="14" y="116"/>
                      <a:pt x="15" y="114"/>
                    </a:cubicBezTo>
                    <a:cubicBezTo>
                      <a:pt x="15" y="114"/>
                      <a:pt x="15" y="114"/>
                      <a:pt x="15" y="114"/>
                    </a:cubicBezTo>
                    <a:cubicBezTo>
                      <a:pt x="17" y="110"/>
                      <a:pt x="19" y="107"/>
                      <a:pt x="23" y="106"/>
                    </a:cubicBezTo>
                    <a:cubicBezTo>
                      <a:pt x="42" y="139"/>
                      <a:pt x="42" y="139"/>
                      <a:pt x="42" y="139"/>
                    </a:cubicBezTo>
                    <a:cubicBezTo>
                      <a:pt x="122" y="139"/>
                      <a:pt x="122" y="139"/>
                      <a:pt x="122" y="139"/>
                    </a:cubicBezTo>
                    <a:cubicBezTo>
                      <a:pt x="162" y="70"/>
                      <a:pt x="162" y="70"/>
                      <a:pt x="162" y="70"/>
                    </a:cubicBez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92D050"/>
              </a:solidFill>
              <a:ln w="19050">
                <a:solidFill>
                  <a:srgbClr val="92D050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Freeform 1917"/>
              <p:cNvSpPr>
                <a:spLocks/>
              </p:cNvSpPr>
              <p:nvPr/>
            </p:nvSpPr>
            <p:spPr bwMode="auto">
              <a:xfrm>
                <a:off x="9423200" y="1851666"/>
                <a:ext cx="2096028" cy="2107617"/>
              </a:xfrm>
              <a:custGeom>
                <a:avLst/>
                <a:gdLst>
                  <a:gd name="T0" fmla="*/ 120 w 160"/>
                  <a:gd name="T1" fmla="*/ 139 h 161"/>
                  <a:gd name="T2" fmla="*/ 160 w 160"/>
                  <a:gd name="T3" fmla="*/ 69 h 161"/>
                  <a:gd name="T4" fmla="*/ 120 w 160"/>
                  <a:gd name="T5" fmla="*/ 0 h 161"/>
                  <a:gd name="T6" fmla="*/ 40 w 160"/>
                  <a:gd name="T7" fmla="*/ 0 h 161"/>
                  <a:gd name="T8" fmla="*/ 22 w 160"/>
                  <a:gd name="T9" fmla="*/ 32 h 161"/>
                  <a:gd name="T10" fmla="*/ 24 w 160"/>
                  <a:gd name="T11" fmla="*/ 32 h 161"/>
                  <a:gd name="T12" fmla="*/ 27 w 160"/>
                  <a:gd name="T13" fmla="*/ 32 h 161"/>
                  <a:gd name="T14" fmla="*/ 28 w 160"/>
                  <a:gd name="T15" fmla="*/ 32 h 161"/>
                  <a:gd name="T16" fmla="*/ 30 w 160"/>
                  <a:gd name="T17" fmla="*/ 33 h 161"/>
                  <a:gd name="T18" fmla="*/ 32 w 160"/>
                  <a:gd name="T19" fmla="*/ 33 h 161"/>
                  <a:gd name="T20" fmla="*/ 36 w 160"/>
                  <a:gd name="T21" fmla="*/ 39 h 161"/>
                  <a:gd name="T22" fmla="*/ 35 w 160"/>
                  <a:gd name="T23" fmla="*/ 46 h 161"/>
                  <a:gd name="T24" fmla="*/ 28 w 160"/>
                  <a:gd name="T25" fmla="*/ 50 h 161"/>
                  <a:gd name="T26" fmla="*/ 23 w 160"/>
                  <a:gd name="T27" fmla="*/ 49 h 161"/>
                  <a:gd name="T28" fmla="*/ 21 w 160"/>
                  <a:gd name="T29" fmla="*/ 48 h 161"/>
                  <a:gd name="T30" fmla="*/ 20 w 160"/>
                  <a:gd name="T31" fmla="*/ 47 h 161"/>
                  <a:gd name="T32" fmla="*/ 19 w 160"/>
                  <a:gd name="T33" fmla="*/ 45 h 161"/>
                  <a:gd name="T34" fmla="*/ 17 w 160"/>
                  <a:gd name="T35" fmla="*/ 41 h 161"/>
                  <a:gd name="T36" fmla="*/ 0 w 160"/>
                  <a:gd name="T37" fmla="*/ 69 h 161"/>
                  <a:gd name="T38" fmla="*/ 18 w 160"/>
                  <a:gd name="T39" fmla="*/ 99 h 161"/>
                  <a:gd name="T40" fmla="*/ 19 w 160"/>
                  <a:gd name="T41" fmla="*/ 96 h 161"/>
                  <a:gd name="T42" fmla="*/ 21 w 160"/>
                  <a:gd name="T43" fmla="*/ 94 h 161"/>
                  <a:gd name="T44" fmla="*/ 21 w 160"/>
                  <a:gd name="T45" fmla="*/ 93 h 161"/>
                  <a:gd name="T46" fmla="*/ 23 w 160"/>
                  <a:gd name="T47" fmla="*/ 92 h 161"/>
                  <a:gd name="T48" fmla="*/ 28 w 160"/>
                  <a:gd name="T49" fmla="*/ 91 h 161"/>
                  <a:gd name="T50" fmla="*/ 35 w 160"/>
                  <a:gd name="T51" fmla="*/ 95 h 161"/>
                  <a:gd name="T52" fmla="*/ 36 w 160"/>
                  <a:gd name="T53" fmla="*/ 102 h 161"/>
                  <a:gd name="T54" fmla="*/ 32 w 160"/>
                  <a:gd name="T55" fmla="*/ 108 h 161"/>
                  <a:gd name="T56" fmla="*/ 31 w 160"/>
                  <a:gd name="T57" fmla="*/ 108 h 161"/>
                  <a:gd name="T58" fmla="*/ 29 w 160"/>
                  <a:gd name="T59" fmla="*/ 109 h 161"/>
                  <a:gd name="T60" fmla="*/ 27 w 160"/>
                  <a:gd name="T61" fmla="*/ 109 h 161"/>
                  <a:gd name="T62" fmla="*/ 24 w 160"/>
                  <a:gd name="T63" fmla="*/ 109 h 161"/>
                  <a:gd name="T64" fmla="*/ 23 w 160"/>
                  <a:gd name="T65" fmla="*/ 109 h 161"/>
                  <a:gd name="T66" fmla="*/ 40 w 160"/>
                  <a:gd name="T67" fmla="*/ 139 h 161"/>
                  <a:gd name="T68" fmla="*/ 77 w 160"/>
                  <a:gd name="T69" fmla="*/ 139 h 161"/>
                  <a:gd name="T70" fmla="*/ 73 w 160"/>
                  <a:gd name="T71" fmla="*/ 150 h 161"/>
                  <a:gd name="T72" fmla="*/ 73 w 160"/>
                  <a:gd name="T73" fmla="*/ 150 h 161"/>
                  <a:gd name="T74" fmla="*/ 72 w 160"/>
                  <a:gd name="T75" fmla="*/ 154 h 161"/>
                  <a:gd name="T76" fmla="*/ 79 w 160"/>
                  <a:gd name="T77" fmla="*/ 161 h 161"/>
                  <a:gd name="T78" fmla="*/ 86 w 160"/>
                  <a:gd name="T79" fmla="*/ 154 h 161"/>
                  <a:gd name="T80" fmla="*/ 85 w 160"/>
                  <a:gd name="T81" fmla="*/ 150 h 161"/>
                  <a:gd name="T82" fmla="*/ 85 w 160"/>
                  <a:gd name="T83" fmla="*/ 150 h 161"/>
                  <a:gd name="T84" fmla="*/ 81 w 160"/>
                  <a:gd name="T85" fmla="*/ 139 h 161"/>
                  <a:gd name="T86" fmla="*/ 120 w 160"/>
                  <a:gd name="T87" fmla="*/ 139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60" h="161">
                    <a:moveTo>
                      <a:pt x="120" y="139"/>
                    </a:moveTo>
                    <a:cubicBezTo>
                      <a:pt x="160" y="69"/>
                      <a:pt x="160" y="69"/>
                      <a:pt x="160" y="69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32"/>
                      <a:pt x="23" y="32"/>
                      <a:pt x="24" y="32"/>
                    </a:cubicBezTo>
                    <a:cubicBezTo>
                      <a:pt x="25" y="32"/>
                      <a:pt x="26" y="32"/>
                      <a:pt x="27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1" y="33"/>
                      <a:pt x="31" y="33"/>
                      <a:pt x="32" y="33"/>
                    </a:cubicBezTo>
                    <a:cubicBezTo>
                      <a:pt x="34" y="35"/>
                      <a:pt x="36" y="37"/>
                      <a:pt x="36" y="39"/>
                    </a:cubicBezTo>
                    <a:cubicBezTo>
                      <a:pt x="37" y="41"/>
                      <a:pt x="37" y="44"/>
                      <a:pt x="35" y="46"/>
                    </a:cubicBezTo>
                    <a:cubicBezTo>
                      <a:pt x="34" y="49"/>
                      <a:pt x="31" y="50"/>
                      <a:pt x="28" y="50"/>
                    </a:cubicBezTo>
                    <a:cubicBezTo>
                      <a:pt x="26" y="50"/>
                      <a:pt x="24" y="50"/>
                      <a:pt x="23" y="49"/>
                    </a:cubicBezTo>
                    <a:cubicBezTo>
                      <a:pt x="22" y="49"/>
                      <a:pt x="22" y="48"/>
                      <a:pt x="21" y="48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9" y="43"/>
                      <a:pt x="18" y="42"/>
                      <a:pt x="17" y="41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8" y="99"/>
                      <a:pt x="19" y="97"/>
                      <a:pt x="19" y="96"/>
                    </a:cubicBezTo>
                    <a:cubicBezTo>
                      <a:pt x="21" y="94"/>
                      <a:pt x="21" y="94"/>
                      <a:pt x="21" y="94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22" y="93"/>
                      <a:pt x="23" y="92"/>
                      <a:pt x="23" y="92"/>
                    </a:cubicBezTo>
                    <a:cubicBezTo>
                      <a:pt x="24" y="91"/>
                      <a:pt x="26" y="91"/>
                      <a:pt x="28" y="91"/>
                    </a:cubicBezTo>
                    <a:cubicBezTo>
                      <a:pt x="31" y="91"/>
                      <a:pt x="34" y="93"/>
                      <a:pt x="35" y="95"/>
                    </a:cubicBezTo>
                    <a:cubicBezTo>
                      <a:pt x="37" y="97"/>
                      <a:pt x="37" y="100"/>
                      <a:pt x="36" y="102"/>
                    </a:cubicBezTo>
                    <a:cubicBezTo>
                      <a:pt x="36" y="105"/>
                      <a:pt x="34" y="107"/>
                      <a:pt x="32" y="108"/>
                    </a:cubicBezTo>
                    <a:cubicBezTo>
                      <a:pt x="32" y="108"/>
                      <a:pt x="31" y="108"/>
                      <a:pt x="31" y="108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7" y="109"/>
                      <a:pt x="27" y="109"/>
                      <a:pt x="27" y="109"/>
                    </a:cubicBezTo>
                    <a:cubicBezTo>
                      <a:pt x="26" y="109"/>
                      <a:pt x="25" y="109"/>
                      <a:pt x="24" y="109"/>
                    </a:cubicBezTo>
                    <a:cubicBezTo>
                      <a:pt x="24" y="109"/>
                      <a:pt x="23" y="109"/>
                      <a:pt x="23" y="109"/>
                    </a:cubicBezTo>
                    <a:cubicBezTo>
                      <a:pt x="40" y="139"/>
                      <a:pt x="40" y="139"/>
                      <a:pt x="40" y="139"/>
                    </a:cubicBezTo>
                    <a:cubicBezTo>
                      <a:pt x="77" y="139"/>
                      <a:pt x="77" y="139"/>
                      <a:pt x="77" y="139"/>
                    </a:cubicBezTo>
                    <a:cubicBezTo>
                      <a:pt x="77" y="142"/>
                      <a:pt x="76" y="146"/>
                      <a:pt x="73" y="150"/>
                    </a:cubicBezTo>
                    <a:cubicBezTo>
                      <a:pt x="73" y="150"/>
                      <a:pt x="73" y="150"/>
                      <a:pt x="73" y="150"/>
                    </a:cubicBezTo>
                    <a:cubicBezTo>
                      <a:pt x="73" y="151"/>
                      <a:pt x="72" y="152"/>
                      <a:pt x="72" y="154"/>
                    </a:cubicBezTo>
                    <a:cubicBezTo>
                      <a:pt x="72" y="157"/>
                      <a:pt x="75" y="161"/>
                      <a:pt x="79" y="161"/>
                    </a:cubicBezTo>
                    <a:cubicBezTo>
                      <a:pt x="83" y="161"/>
                      <a:pt x="86" y="157"/>
                      <a:pt x="86" y="154"/>
                    </a:cubicBezTo>
                    <a:cubicBezTo>
                      <a:pt x="86" y="152"/>
                      <a:pt x="86" y="151"/>
                      <a:pt x="85" y="150"/>
                    </a:cubicBezTo>
                    <a:cubicBezTo>
                      <a:pt x="85" y="150"/>
                      <a:pt x="85" y="150"/>
                      <a:pt x="85" y="150"/>
                    </a:cubicBezTo>
                    <a:cubicBezTo>
                      <a:pt x="82" y="146"/>
                      <a:pt x="81" y="142"/>
                      <a:pt x="81" y="139"/>
                    </a:cubicBezTo>
                    <a:lnTo>
                      <a:pt x="120" y="139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lumMod val="100000"/>
                    </a:srgbClr>
                  </a:gs>
                  <a:gs pos="0">
                    <a:srgbClr val="D9D9DA"/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Freeform 1927"/>
              <p:cNvSpPr>
                <a:spLocks/>
              </p:cNvSpPr>
              <p:nvPr/>
            </p:nvSpPr>
            <p:spPr bwMode="auto">
              <a:xfrm>
                <a:off x="7799027" y="922858"/>
                <a:ext cx="2096028" cy="1819538"/>
              </a:xfrm>
              <a:custGeom>
                <a:avLst/>
                <a:gdLst>
                  <a:gd name="T0" fmla="*/ 155 w 160"/>
                  <a:gd name="T1" fmla="*/ 106 h 139"/>
                  <a:gd name="T2" fmla="*/ 151 w 160"/>
                  <a:gd name="T3" fmla="*/ 105 h 139"/>
                  <a:gd name="T4" fmla="*/ 151 w 160"/>
                  <a:gd name="T5" fmla="*/ 105 h 139"/>
                  <a:gd name="T6" fmla="*/ 140 w 160"/>
                  <a:gd name="T7" fmla="*/ 103 h 139"/>
                  <a:gd name="T8" fmla="*/ 160 w 160"/>
                  <a:gd name="T9" fmla="*/ 69 h 139"/>
                  <a:gd name="T10" fmla="*/ 120 w 160"/>
                  <a:gd name="T11" fmla="*/ 0 h 139"/>
                  <a:gd name="T12" fmla="*/ 40 w 160"/>
                  <a:gd name="T13" fmla="*/ 0 h 139"/>
                  <a:gd name="T14" fmla="*/ 0 w 160"/>
                  <a:gd name="T15" fmla="*/ 69 h 139"/>
                  <a:gd name="T16" fmla="*/ 18 w 160"/>
                  <a:gd name="T17" fmla="*/ 101 h 139"/>
                  <a:gd name="T18" fmla="*/ 20 w 160"/>
                  <a:gd name="T19" fmla="*/ 97 h 139"/>
                  <a:gd name="T20" fmla="*/ 21 w 160"/>
                  <a:gd name="T21" fmla="*/ 95 h 139"/>
                  <a:gd name="T22" fmla="*/ 22 w 160"/>
                  <a:gd name="T23" fmla="*/ 94 h 139"/>
                  <a:gd name="T24" fmla="*/ 24 w 160"/>
                  <a:gd name="T25" fmla="*/ 93 h 139"/>
                  <a:gd name="T26" fmla="*/ 29 w 160"/>
                  <a:gd name="T27" fmla="*/ 92 h 139"/>
                  <a:gd name="T28" fmla="*/ 36 w 160"/>
                  <a:gd name="T29" fmla="*/ 96 h 139"/>
                  <a:gd name="T30" fmla="*/ 37 w 160"/>
                  <a:gd name="T31" fmla="*/ 103 h 139"/>
                  <a:gd name="T32" fmla="*/ 33 w 160"/>
                  <a:gd name="T33" fmla="*/ 108 h 139"/>
                  <a:gd name="T34" fmla="*/ 31 w 160"/>
                  <a:gd name="T35" fmla="*/ 109 h 139"/>
                  <a:gd name="T36" fmla="*/ 30 w 160"/>
                  <a:gd name="T37" fmla="*/ 110 h 139"/>
                  <a:gd name="T38" fmla="*/ 28 w 160"/>
                  <a:gd name="T39" fmla="*/ 110 h 139"/>
                  <a:gd name="T40" fmla="*/ 25 w 160"/>
                  <a:gd name="T41" fmla="*/ 109 h 139"/>
                  <a:gd name="T42" fmla="*/ 23 w 160"/>
                  <a:gd name="T43" fmla="*/ 110 h 139"/>
                  <a:gd name="T44" fmla="*/ 40 w 160"/>
                  <a:gd name="T45" fmla="*/ 139 h 139"/>
                  <a:gd name="T46" fmla="*/ 75 w 160"/>
                  <a:gd name="T47" fmla="*/ 139 h 139"/>
                  <a:gd name="T48" fmla="*/ 73 w 160"/>
                  <a:gd name="T49" fmla="*/ 135 h 139"/>
                  <a:gd name="T50" fmla="*/ 72 w 160"/>
                  <a:gd name="T51" fmla="*/ 133 h 139"/>
                  <a:gd name="T52" fmla="*/ 72 w 160"/>
                  <a:gd name="T53" fmla="*/ 132 h 139"/>
                  <a:gd name="T54" fmla="*/ 71 w 160"/>
                  <a:gd name="T55" fmla="*/ 130 h 139"/>
                  <a:gd name="T56" fmla="*/ 80 w 160"/>
                  <a:gd name="T57" fmla="*/ 121 h 139"/>
                  <a:gd name="T58" fmla="*/ 89 w 160"/>
                  <a:gd name="T59" fmla="*/ 130 h 139"/>
                  <a:gd name="T60" fmla="*/ 89 w 160"/>
                  <a:gd name="T61" fmla="*/ 132 h 139"/>
                  <a:gd name="T62" fmla="*/ 89 w 160"/>
                  <a:gd name="T63" fmla="*/ 133 h 139"/>
                  <a:gd name="T64" fmla="*/ 88 w 160"/>
                  <a:gd name="T65" fmla="*/ 135 h 139"/>
                  <a:gd name="T66" fmla="*/ 85 w 160"/>
                  <a:gd name="T67" fmla="*/ 139 h 139"/>
                  <a:gd name="T68" fmla="*/ 120 w 160"/>
                  <a:gd name="T69" fmla="*/ 139 h 139"/>
                  <a:gd name="T70" fmla="*/ 138 w 160"/>
                  <a:gd name="T71" fmla="*/ 107 h 139"/>
                  <a:gd name="T72" fmla="*/ 145 w 160"/>
                  <a:gd name="T73" fmla="*/ 115 h 139"/>
                  <a:gd name="T74" fmla="*/ 145 w 160"/>
                  <a:gd name="T75" fmla="*/ 115 h 139"/>
                  <a:gd name="T76" fmla="*/ 148 w 160"/>
                  <a:gd name="T77" fmla="*/ 118 h 139"/>
                  <a:gd name="T78" fmla="*/ 158 w 160"/>
                  <a:gd name="T79" fmla="*/ 116 h 139"/>
                  <a:gd name="T80" fmla="*/ 155 w 160"/>
                  <a:gd name="T81" fmla="*/ 106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" h="139">
                    <a:moveTo>
                      <a:pt x="155" y="106"/>
                    </a:moveTo>
                    <a:cubicBezTo>
                      <a:pt x="154" y="105"/>
                      <a:pt x="152" y="105"/>
                      <a:pt x="151" y="105"/>
                    </a:cubicBezTo>
                    <a:cubicBezTo>
                      <a:pt x="151" y="105"/>
                      <a:pt x="151" y="105"/>
                      <a:pt x="151" y="105"/>
                    </a:cubicBezTo>
                    <a:cubicBezTo>
                      <a:pt x="146" y="106"/>
                      <a:pt x="143" y="105"/>
                      <a:pt x="140" y="103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19" y="100"/>
                      <a:pt x="20" y="99"/>
                      <a:pt x="20" y="97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22" y="94"/>
                      <a:pt x="22" y="94"/>
                      <a:pt x="22" y="94"/>
                    </a:cubicBezTo>
                    <a:cubicBezTo>
                      <a:pt x="23" y="94"/>
                      <a:pt x="23" y="93"/>
                      <a:pt x="24" y="93"/>
                    </a:cubicBezTo>
                    <a:cubicBezTo>
                      <a:pt x="25" y="92"/>
                      <a:pt x="27" y="92"/>
                      <a:pt x="29" y="92"/>
                    </a:cubicBezTo>
                    <a:cubicBezTo>
                      <a:pt x="32" y="92"/>
                      <a:pt x="35" y="93"/>
                      <a:pt x="36" y="96"/>
                    </a:cubicBezTo>
                    <a:cubicBezTo>
                      <a:pt x="38" y="98"/>
                      <a:pt x="38" y="101"/>
                      <a:pt x="37" y="103"/>
                    </a:cubicBezTo>
                    <a:cubicBezTo>
                      <a:pt x="37" y="105"/>
                      <a:pt x="35" y="107"/>
                      <a:pt x="33" y="108"/>
                    </a:cubicBezTo>
                    <a:cubicBezTo>
                      <a:pt x="32" y="109"/>
                      <a:pt x="32" y="109"/>
                      <a:pt x="31" y="109"/>
                    </a:cubicBezTo>
                    <a:cubicBezTo>
                      <a:pt x="30" y="110"/>
                      <a:pt x="30" y="110"/>
                      <a:pt x="30" y="110"/>
                    </a:cubicBezTo>
                    <a:cubicBezTo>
                      <a:pt x="28" y="110"/>
                      <a:pt x="28" y="110"/>
                      <a:pt x="28" y="110"/>
                    </a:cubicBezTo>
                    <a:cubicBezTo>
                      <a:pt x="27" y="109"/>
                      <a:pt x="26" y="109"/>
                      <a:pt x="25" y="109"/>
                    </a:cubicBezTo>
                    <a:cubicBezTo>
                      <a:pt x="24" y="109"/>
                      <a:pt x="24" y="109"/>
                      <a:pt x="23" y="110"/>
                    </a:cubicBezTo>
                    <a:cubicBezTo>
                      <a:pt x="40" y="139"/>
                      <a:pt x="40" y="139"/>
                      <a:pt x="40" y="139"/>
                    </a:cubicBezTo>
                    <a:cubicBezTo>
                      <a:pt x="75" y="139"/>
                      <a:pt x="75" y="139"/>
                      <a:pt x="75" y="139"/>
                    </a:cubicBezTo>
                    <a:cubicBezTo>
                      <a:pt x="75" y="137"/>
                      <a:pt x="74" y="136"/>
                      <a:pt x="73" y="135"/>
                    </a:cubicBezTo>
                    <a:cubicBezTo>
                      <a:pt x="72" y="133"/>
                      <a:pt x="72" y="133"/>
                      <a:pt x="72" y="133"/>
                    </a:cubicBezTo>
                    <a:cubicBezTo>
                      <a:pt x="72" y="132"/>
                      <a:pt x="72" y="132"/>
                      <a:pt x="72" y="132"/>
                    </a:cubicBezTo>
                    <a:cubicBezTo>
                      <a:pt x="71" y="131"/>
                      <a:pt x="71" y="130"/>
                      <a:pt x="71" y="130"/>
                    </a:cubicBezTo>
                    <a:cubicBezTo>
                      <a:pt x="71" y="125"/>
                      <a:pt x="75" y="121"/>
                      <a:pt x="80" y="121"/>
                    </a:cubicBezTo>
                    <a:cubicBezTo>
                      <a:pt x="85" y="121"/>
                      <a:pt x="89" y="125"/>
                      <a:pt x="89" y="130"/>
                    </a:cubicBezTo>
                    <a:cubicBezTo>
                      <a:pt x="89" y="130"/>
                      <a:pt x="89" y="131"/>
                      <a:pt x="89" y="13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8" y="135"/>
                      <a:pt x="88" y="135"/>
                      <a:pt x="88" y="135"/>
                    </a:cubicBezTo>
                    <a:cubicBezTo>
                      <a:pt x="87" y="136"/>
                      <a:pt x="86" y="137"/>
                      <a:pt x="85" y="139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38" y="107"/>
                      <a:pt x="138" y="107"/>
                      <a:pt x="138" y="107"/>
                    </a:cubicBezTo>
                    <a:cubicBezTo>
                      <a:pt x="141" y="108"/>
                      <a:pt x="143" y="111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6" y="116"/>
                      <a:pt x="147" y="118"/>
                      <a:pt x="148" y="118"/>
                    </a:cubicBezTo>
                    <a:cubicBezTo>
                      <a:pt x="151" y="120"/>
                      <a:pt x="156" y="119"/>
                      <a:pt x="158" y="116"/>
                    </a:cubicBezTo>
                    <a:cubicBezTo>
                      <a:pt x="160" y="112"/>
                      <a:pt x="158" y="108"/>
                      <a:pt x="155" y="106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1D8DE5"/>
                  </a:gs>
                  <a:gs pos="0">
                    <a:srgbClr val="007BB5"/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100000">
                      <a:srgbClr val="1D8DE5"/>
                    </a:gs>
                    <a:gs pos="0">
                      <a:srgbClr val="007BB5"/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文本框 27"/>
              <p:cNvSpPr txBox="1"/>
              <p:nvPr/>
            </p:nvSpPr>
            <p:spPr>
              <a:xfrm>
                <a:off x="6966462" y="2126775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6</a:t>
                </a: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6496424" y="2566239"/>
                <a:ext cx="683445" cy="3909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管理</a:t>
                </a:r>
              </a:p>
            </p:txBody>
          </p:sp>
          <p:sp>
            <p:nvSpPr>
              <p:cNvPr id="30" name="文本框 29"/>
              <p:cNvSpPr txBox="1"/>
              <p:nvPr/>
            </p:nvSpPr>
            <p:spPr>
              <a:xfrm>
                <a:off x="10234694" y="2126775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2</a:t>
                </a:r>
              </a:p>
            </p:txBody>
          </p:sp>
          <p:sp>
            <p:nvSpPr>
              <p:cNvPr id="31" name="文本框 30"/>
              <p:cNvSpPr txBox="1"/>
              <p:nvPr/>
            </p:nvSpPr>
            <p:spPr>
              <a:xfrm>
                <a:off x="9759257" y="2566239"/>
                <a:ext cx="1501080" cy="6515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趋势</a:t>
                </a:r>
                <a:r>
                  <a:rPr lang="en-US" altLang="zh-CN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&amp;</a:t>
                </a:r>
                <a:r>
                  <a:rPr lang="zh-CN" altLang="en-US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解决方案</a:t>
                </a:r>
              </a:p>
            </p:txBody>
          </p:sp>
          <p:sp>
            <p:nvSpPr>
              <p:cNvPr id="32" name="文本框 31"/>
              <p:cNvSpPr txBox="1"/>
              <p:nvPr/>
            </p:nvSpPr>
            <p:spPr>
              <a:xfrm>
                <a:off x="8628283" y="4960957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4</a:t>
                </a:r>
              </a:p>
            </p:txBody>
          </p:sp>
          <p:sp>
            <p:nvSpPr>
              <p:cNvPr id="33" name="文本框 32"/>
              <p:cNvSpPr txBox="1"/>
              <p:nvPr/>
            </p:nvSpPr>
            <p:spPr>
              <a:xfrm>
                <a:off x="7966242" y="5400422"/>
                <a:ext cx="1851789" cy="390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配置</a:t>
                </a:r>
                <a:r>
                  <a:rPr lang="en-US" altLang="zh-CN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&amp;</a:t>
                </a:r>
                <a:r>
                  <a:rPr lang="zh-CN" altLang="en-US" sz="1200">
                    <a:solidFill>
                      <a:srgbClr val="1D8DE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维护</a:t>
                </a: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>
                <a:off x="7000343" y="4046046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5</a:t>
                </a:r>
              </a:p>
            </p:txBody>
          </p:sp>
          <p:sp>
            <p:nvSpPr>
              <p:cNvPr id="35" name="文本框 34"/>
              <p:cNvSpPr txBox="1"/>
              <p:nvPr/>
            </p:nvSpPr>
            <p:spPr>
              <a:xfrm>
                <a:off x="6338302" y="4485509"/>
                <a:ext cx="1753681" cy="390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设计</a:t>
                </a:r>
              </a:p>
            </p:txBody>
          </p:sp>
          <p:sp>
            <p:nvSpPr>
              <p:cNvPr id="36" name="文本框 35"/>
              <p:cNvSpPr txBox="1"/>
              <p:nvPr/>
            </p:nvSpPr>
            <p:spPr>
              <a:xfrm>
                <a:off x="10192520" y="4046046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3</a:t>
                </a:r>
              </a:p>
            </p:txBody>
          </p:sp>
          <p:sp>
            <p:nvSpPr>
              <p:cNvPr id="37" name="文本框 36"/>
              <p:cNvSpPr txBox="1"/>
              <p:nvPr/>
            </p:nvSpPr>
            <p:spPr>
              <a:xfrm>
                <a:off x="9530478" y="4485509"/>
                <a:ext cx="1908475" cy="390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操作</a:t>
                </a:r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>
                <a:off x="8588982" y="1229150"/>
                <a:ext cx="590004" cy="4778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01</a:t>
                </a:r>
              </a:p>
            </p:txBody>
          </p:sp>
          <p:sp>
            <p:nvSpPr>
              <p:cNvPr id="39" name="文本框 38"/>
              <p:cNvSpPr txBox="1"/>
              <p:nvPr/>
            </p:nvSpPr>
            <p:spPr>
              <a:xfrm>
                <a:off x="7926941" y="1668613"/>
                <a:ext cx="1891089" cy="390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 Unicode MS" panose="020B0604020202020204" pitchFamily="34" charset="-122"/>
                  </a:rPr>
                  <a:t>概述</a:t>
                </a:r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7872068" y="3547750"/>
                <a:ext cx="2000833" cy="390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ahoma" panose="020B0604030504040204" pitchFamily="34" charset="0"/>
                  </a:rPr>
                  <a:t>培训内容</a:t>
                </a:r>
              </a:p>
            </p:txBody>
          </p:sp>
        </p:grpSp>
        <p:grpSp>
          <p:nvGrpSpPr>
            <p:cNvPr id="41" name="组合 40"/>
            <p:cNvGrpSpPr/>
            <p:nvPr/>
          </p:nvGrpSpPr>
          <p:grpSpPr>
            <a:xfrm>
              <a:off x="533326" y="1104137"/>
              <a:ext cx="3713541" cy="3706792"/>
              <a:chOff x="279400" y="697568"/>
              <a:chExt cx="5591175" cy="5839217"/>
            </a:xfrm>
          </p:grpSpPr>
          <p:sp>
            <p:nvSpPr>
              <p:cNvPr id="42" name="Freeform 5"/>
              <p:cNvSpPr>
                <a:spLocks/>
              </p:cNvSpPr>
              <p:nvPr/>
            </p:nvSpPr>
            <p:spPr bwMode="auto">
              <a:xfrm>
                <a:off x="279400" y="1084918"/>
                <a:ext cx="5476875" cy="5199063"/>
              </a:xfrm>
              <a:custGeom>
                <a:avLst/>
                <a:gdLst>
                  <a:gd name="T0" fmla="*/ 1142 w 1245"/>
                  <a:gd name="T1" fmla="*/ 1005 h 1182"/>
                  <a:gd name="T2" fmla="*/ 999 w 1245"/>
                  <a:gd name="T3" fmla="*/ 947 h 1182"/>
                  <a:gd name="T4" fmla="*/ 950 w 1245"/>
                  <a:gd name="T5" fmla="*/ 898 h 1182"/>
                  <a:gd name="T6" fmla="*/ 669 w 1245"/>
                  <a:gd name="T7" fmla="*/ 947 h 1182"/>
                  <a:gd name="T8" fmla="*/ 277 w 1245"/>
                  <a:gd name="T9" fmla="*/ 1005 h 1182"/>
                  <a:gd name="T10" fmla="*/ 281 w 1245"/>
                  <a:gd name="T11" fmla="*/ 958 h 1182"/>
                  <a:gd name="T12" fmla="*/ 329 w 1245"/>
                  <a:gd name="T13" fmla="*/ 723 h 1182"/>
                  <a:gd name="T14" fmla="*/ 281 w 1245"/>
                  <a:gd name="T15" fmla="*/ 674 h 1182"/>
                  <a:gd name="T16" fmla="*/ 277 w 1245"/>
                  <a:gd name="T17" fmla="*/ 624 h 1182"/>
                  <a:gd name="T18" fmla="*/ 439 w 1245"/>
                  <a:gd name="T19" fmla="*/ 684 h 1182"/>
                  <a:gd name="T20" fmla="*/ 720 w 1245"/>
                  <a:gd name="T21" fmla="*/ 732 h 1182"/>
                  <a:gd name="T22" fmla="*/ 768 w 1245"/>
                  <a:gd name="T23" fmla="*/ 624 h 1182"/>
                  <a:gd name="T24" fmla="*/ 1068 w 1245"/>
                  <a:gd name="T25" fmla="*/ 505 h 1182"/>
                  <a:gd name="T26" fmla="*/ 1202 w 1245"/>
                  <a:gd name="T27" fmla="*/ 457 h 1182"/>
                  <a:gd name="T28" fmla="*/ 1187 w 1245"/>
                  <a:gd name="T29" fmla="*/ 236 h 1182"/>
                  <a:gd name="T30" fmla="*/ 1066 w 1245"/>
                  <a:gd name="T31" fmla="*/ 221 h 1182"/>
                  <a:gd name="T32" fmla="*/ 645 w 1245"/>
                  <a:gd name="T33" fmla="*/ 109 h 1182"/>
                  <a:gd name="T34" fmla="*/ 631 w 1245"/>
                  <a:gd name="T35" fmla="*/ 14 h 1182"/>
                  <a:gd name="T36" fmla="*/ 364 w 1245"/>
                  <a:gd name="T37" fmla="*/ 0 h 1182"/>
                  <a:gd name="T38" fmla="*/ 316 w 1245"/>
                  <a:gd name="T39" fmla="*/ 109 h 1182"/>
                  <a:gd name="T40" fmla="*/ 157 w 1245"/>
                  <a:gd name="T41" fmla="*/ 88 h 1182"/>
                  <a:gd name="T42" fmla="*/ 157 w 1245"/>
                  <a:gd name="T43" fmla="*/ 201 h 1182"/>
                  <a:gd name="T44" fmla="*/ 316 w 1245"/>
                  <a:gd name="T45" fmla="*/ 175 h 1182"/>
                  <a:gd name="T46" fmla="*/ 364 w 1245"/>
                  <a:gd name="T47" fmla="*/ 284 h 1182"/>
                  <a:gd name="T48" fmla="*/ 645 w 1245"/>
                  <a:gd name="T49" fmla="*/ 235 h 1182"/>
                  <a:gd name="T50" fmla="*/ 925 w 1245"/>
                  <a:gd name="T51" fmla="*/ 175 h 1182"/>
                  <a:gd name="T52" fmla="*/ 921 w 1245"/>
                  <a:gd name="T53" fmla="*/ 221 h 1182"/>
                  <a:gd name="T54" fmla="*/ 872 w 1245"/>
                  <a:gd name="T55" fmla="*/ 457 h 1182"/>
                  <a:gd name="T56" fmla="*/ 999 w 1245"/>
                  <a:gd name="T57" fmla="*/ 505 h 1182"/>
                  <a:gd name="T58" fmla="*/ 768 w 1245"/>
                  <a:gd name="T59" fmla="*/ 557 h 1182"/>
                  <a:gd name="T60" fmla="*/ 754 w 1245"/>
                  <a:gd name="T61" fmla="*/ 463 h 1182"/>
                  <a:gd name="T62" fmla="*/ 487 w 1245"/>
                  <a:gd name="T63" fmla="*/ 448 h 1182"/>
                  <a:gd name="T64" fmla="*/ 439 w 1245"/>
                  <a:gd name="T65" fmla="*/ 557 h 1182"/>
                  <a:gd name="T66" fmla="*/ 134 w 1245"/>
                  <a:gd name="T67" fmla="*/ 674 h 1182"/>
                  <a:gd name="T68" fmla="*/ 0 w 1245"/>
                  <a:gd name="T69" fmla="*/ 723 h 1182"/>
                  <a:gd name="T70" fmla="*/ 48 w 1245"/>
                  <a:gd name="T71" fmla="*/ 958 h 1182"/>
                  <a:gd name="T72" fmla="*/ 277 w 1245"/>
                  <a:gd name="T73" fmla="*/ 1072 h 1182"/>
                  <a:gd name="T74" fmla="*/ 669 w 1245"/>
                  <a:gd name="T75" fmla="*/ 1134 h 1182"/>
                  <a:gd name="T76" fmla="*/ 950 w 1245"/>
                  <a:gd name="T77" fmla="*/ 1182 h 1182"/>
                  <a:gd name="T78" fmla="*/ 999 w 1245"/>
                  <a:gd name="T79" fmla="*/ 1072 h 1182"/>
                  <a:gd name="T80" fmla="*/ 1189 w 1245"/>
                  <a:gd name="T81" fmla="*/ 1095 h 1182"/>
                  <a:gd name="T82" fmla="*/ 1189 w 1245"/>
                  <a:gd name="T83" fmla="*/ 981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45" h="1182">
                    <a:moveTo>
                      <a:pt x="1189" y="981"/>
                    </a:moveTo>
                    <a:cubicBezTo>
                      <a:pt x="1170" y="981"/>
                      <a:pt x="1153" y="991"/>
                      <a:pt x="1142" y="1005"/>
                    </a:cubicBezTo>
                    <a:cubicBezTo>
                      <a:pt x="999" y="1005"/>
                      <a:pt x="999" y="1005"/>
                      <a:pt x="999" y="1005"/>
                    </a:cubicBezTo>
                    <a:cubicBezTo>
                      <a:pt x="999" y="947"/>
                      <a:pt x="999" y="947"/>
                      <a:pt x="999" y="947"/>
                    </a:cubicBezTo>
                    <a:cubicBezTo>
                      <a:pt x="999" y="934"/>
                      <a:pt x="994" y="922"/>
                      <a:pt x="985" y="913"/>
                    </a:cubicBezTo>
                    <a:cubicBezTo>
                      <a:pt x="975" y="904"/>
                      <a:pt x="963" y="898"/>
                      <a:pt x="950" y="898"/>
                    </a:cubicBezTo>
                    <a:cubicBezTo>
                      <a:pt x="718" y="898"/>
                      <a:pt x="718" y="898"/>
                      <a:pt x="718" y="898"/>
                    </a:cubicBezTo>
                    <a:cubicBezTo>
                      <a:pt x="691" y="898"/>
                      <a:pt x="669" y="920"/>
                      <a:pt x="669" y="947"/>
                    </a:cubicBezTo>
                    <a:cubicBezTo>
                      <a:pt x="669" y="1005"/>
                      <a:pt x="669" y="1005"/>
                      <a:pt x="669" y="1005"/>
                    </a:cubicBezTo>
                    <a:cubicBezTo>
                      <a:pt x="277" y="1005"/>
                      <a:pt x="277" y="1005"/>
                      <a:pt x="277" y="1005"/>
                    </a:cubicBezTo>
                    <a:cubicBezTo>
                      <a:pt x="245" y="1005"/>
                      <a:pt x="217" y="986"/>
                      <a:pt x="205" y="958"/>
                    </a:cubicBezTo>
                    <a:cubicBezTo>
                      <a:pt x="281" y="958"/>
                      <a:pt x="281" y="958"/>
                      <a:pt x="281" y="958"/>
                    </a:cubicBezTo>
                    <a:cubicBezTo>
                      <a:pt x="308" y="958"/>
                      <a:pt x="329" y="937"/>
                      <a:pt x="329" y="910"/>
                    </a:cubicBezTo>
                    <a:cubicBezTo>
                      <a:pt x="329" y="723"/>
                      <a:pt x="329" y="723"/>
                      <a:pt x="329" y="723"/>
                    </a:cubicBezTo>
                    <a:cubicBezTo>
                      <a:pt x="329" y="710"/>
                      <a:pt x="324" y="698"/>
                      <a:pt x="315" y="689"/>
                    </a:cubicBezTo>
                    <a:cubicBezTo>
                      <a:pt x="306" y="680"/>
                      <a:pt x="294" y="674"/>
                      <a:pt x="281" y="674"/>
                    </a:cubicBezTo>
                    <a:cubicBezTo>
                      <a:pt x="203" y="674"/>
                      <a:pt x="203" y="674"/>
                      <a:pt x="203" y="674"/>
                    </a:cubicBezTo>
                    <a:cubicBezTo>
                      <a:pt x="214" y="645"/>
                      <a:pt x="243" y="624"/>
                      <a:pt x="277" y="624"/>
                    </a:cubicBezTo>
                    <a:cubicBezTo>
                      <a:pt x="439" y="624"/>
                      <a:pt x="439" y="624"/>
                      <a:pt x="439" y="624"/>
                    </a:cubicBezTo>
                    <a:cubicBezTo>
                      <a:pt x="439" y="684"/>
                      <a:pt x="439" y="684"/>
                      <a:pt x="439" y="684"/>
                    </a:cubicBezTo>
                    <a:cubicBezTo>
                      <a:pt x="439" y="711"/>
                      <a:pt x="460" y="732"/>
                      <a:pt x="487" y="732"/>
                    </a:cubicBezTo>
                    <a:cubicBezTo>
                      <a:pt x="720" y="732"/>
                      <a:pt x="720" y="732"/>
                      <a:pt x="720" y="732"/>
                    </a:cubicBezTo>
                    <a:cubicBezTo>
                      <a:pt x="746" y="732"/>
                      <a:pt x="768" y="711"/>
                      <a:pt x="768" y="684"/>
                    </a:cubicBezTo>
                    <a:cubicBezTo>
                      <a:pt x="768" y="624"/>
                      <a:pt x="768" y="624"/>
                      <a:pt x="768" y="624"/>
                    </a:cubicBezTo>
                    <a:cubicBezTo>
                      <a:pt x="925" y="624"/>
                      <a:pt x="925" y="624"/>
                      <a:pt x="925" y="624"/>
                    </a:cubicBezTo>
                    <a:cubicBezTo>
                      <a:pt x="996" y="624"/>
                      <a:pt x="1055" y="573"/>
                      <a:pt x="1068" y="505"/>
                    </a:cubicBezTo>
                    <a:cubicBezTo>
                      <a:pt x="1153" y="505"/>
                      <a:pt x="1153" y="505"/>
                      <a:pt x="1153" y="505"/>
                    </a:cubicBezTo>
                    <a:cubicBezTo>
                      <a:pt x="1180" y="505"/>
                      <a:pt x="1202" y="484"/>
                      <a:pt x="1202" y="457"/>
                    </a:cubicBezTo>
                    <a:cubicBezTo>
                      <a:pt x="1202" y="270"/>
                      <a:pt x="1202" y="270"/>
                      <a:pt x="1202" y="270"/>
                    </a:cubicBezTo>
                    <a:cubicBezTo>
                      <a:pt x="1202" y="257"/>
                      <a:pt x="1197" y="245"/>
                      <a:pt x="1187" y="236"/>
                    </a:cubicBezTo>
                    <a:cubicBezTo>
                      <a:pt x="1178" y="226"/>
                      <a:pt x="1166" y="221"/>
                      <a:pt x="1153" y="221"/>
                    </a:cubicBezTo>
                    <a:cubicBezTo>
                      <a:pt x="1066" y="221"/>
                      <a:pt x="1066" y="221"/>
                      <a:pt x="1066" y="221"/>
                    </a:cubicBezTo>
                    <a:cubicBezTo>
                      <a:pt x="1051" y="157"/>
                      <a:pt x="994" y="109"/>
                      <a:pt x="925" y="109"/>
                    </a:cubicBezTo>
                    <a:cubicBezTo>
                      <a:pt x="645" y="109"/>
                      <a:pt x="645" y="109"/>
                      <a:pt x="645" y="109"/>
                    </a:cubicBezTo>
                    <a:cubicBezTo>
                      <a:pt x="645" y="49"/>
                      <a:pt x="645" y="49"/>
                      <a:pt x="645" y="49"/>
                    </a:cubicBezTo>
                    <a:cubicBezTo>
                      <a:pt x="645" y="36"/>
                      <a:pt x="640" y="23"/>
                      <a:pt x="631" y="14"/>
                    </a:cubicBezTo>
                    <a:cubicBezTo>
                      <a:pt x="622" y="5"/>
                      <a:pt x="610" y="0"/>
                      <a:pt x="597" y="0"/>
                    </a:cubicBezTo>
                    <a:cubicBezTo>
                      <a:pt x="364" y="0"/>
                      <a:pt x="364" y="0"/>
                      <a:pt x="364" y="0"/>
                    </a:cubicBezTo>
                    <a:cubicBezTo>
                      <a:pt x="338" y="0"/>
                      <a:pt x="316" y="22"/>
                      <a:pt x="316" y="49"/>
                    </a:cubicBezTo>
                    <a:cubicBezTo>
                      <a:pt x="316" y="109"/>
                      <a:pt x="316" y="109"/>
                      <a:pt x="316" y="109"/>
                    </a:cubicBezTo>
                    <a:cubicBezTo>
                      <a:pt x="200" y="109"/>
                      <a:pt x="200" y="109"/>
                      <a:pt x="200" y="109"/>
                    </a:cubicBezTo>
                    <a:cubicBezTo>
                      <a:pt x="190" y="96"/>
                      <a:pt x="174" y="88"/>
                      <a:pt x="157" y="88"/>
                    </a:cubicBezTo>
                    <a:cubicBezTo>
                      <a:pt x="125" y="88"/>
                      <a:pt x="100" y="113"/>
                      <a:pt x="100" y="145"/>
                    </a:cubicBezTo>
                    <a:cubicBezTo>
                      <a:pt x="100" y="176"/>
                      <a:pt x="125" y="201"/>
                      <a:pt x="157" y="201"/>
                    </a:cubicBezTo>
                    <a:cubicBezTo>
                      <a:pt x="177" y="201"/>
                      <a:pt x="194" y="191"/>
                      <a:pt x="204" y="175"/>
                    </a:cubicBezTo>
                    <a:cubicBezTo>
                      <a:pt x="316" y="175"/>
                      <a:pt x="316" y="175"/>
                      <a:pt x="316" y="175"/>
                    </a:cubicBezTo>
                    <a:cubicBezTo>
                      <a:pt x="316" y="235"/>
                      <a:pt x="316" y="235"/>
                      <a:pt x="316" y="235"/>
                    </a:cubicBezTo>
                    <a:cubicBezTo>
                      <a:pt x="316" y="262"/>
                      <a:pt x="338" y="284"/>
                      <a:pt x="364" y="284"/>
                    </a:cubicBezTo>
                    <a:cubicBezTo>
                      <a:pt x="597" y="284"/>
                      <a:pt x="597" y="284"/>
                      <a:pt x="597" y="284"/>
                    </a:cubicBezTo>
                    <a:cubicBezTo>
                      <a:pt x="624" y="284"/>
                      <a:pt x="645" y="262"/>
                      <a:pt x="645" y="235"/>
                    </a:cubicBezTo>
                    <a:cubicBezTo>
                      <a:pt x="645" y="175"/>
                      <a:pt x="645" y="175"/>
                      <a:pt x="645" y="175"/>
                    </a:cubicBezTo>
                    <a:cubicBezTo>
                      <a:pt x="925" y="175"/>
                      <a:pt x="925" y="175"/>
                      <a:pt x="925" y="175"/>
                    </a:cubicBezTo>
                    <a:cubicBezTo>
                      <a:pt x="956" y="175"/>
                      <a:pt x="984" y="194"/>
                      <a:pt x="996" y="221"/>
                    </a:cubicBezTo>
                    <a:cubicBezTo>
                      <a:pt x="921" y="221"/>
                      <a:pt x="921" y="221"/>
                      <a:pt x="921" y="221"/>
                    </a:cubicBezTo>
                    <a:cubicBezTo>
                      <a:pt x="894" y="221"/>
                      <a:pt x="872" y="243"/>
                      <a:pt x="872" y="270"/>
                    </a:cubicBezTo>
                    <a:cubicBezTo>
                      <a:pt x="872" y="457"/>
                      <a:pt x="872" y="457"/>
                      <a:pt x="872" y="457"/>
                    </a:cubicBezTo>
                    <a:cubicBezTo>
                      <a:pt x="872" y="484"/>
                      <a:pt x="894" y="505"/>
                      <a:pt x="921" y="505"/>
                    </a:cubicBezTo>
                    <a:cubicBezTo>
                      <a:pt x="999" y="505"/>
                      <a:pt x="999" y="505"/>
                      <a:pt x="999" y="505"/>
                    </a:cubicBezTo>
                    <a:cubicBezTo>
                      <a:pt x="988" y="535"/>
                      <a:pt x="959" y="557"/>
                      <a:pt x="925" y="557"/>
                    </a:cubicBezTo>
                    <a:cubicBezTo>
                      <a:pt x="768" y="557"/>
                      <a:pt x="768" y="557"/>
                      <a:pt x="768" y="557"/>
                    </a:cubicBezTo>
                    <a:cubicBezTo>
                      <a:pt x="768" y="497"/>
                      <a:pt x="768" y="497"/>
                      <a:pt x="768" y="497"/>
                    </a:cubicBezTo>
                    <a:cubicBezTo>
                      <a:pt x="768" y="484"/>
                      <a:pt x="763" y="472"/>
                      <a:pt x="754" y="463"/>
                    </a:cubicBezTo>
                    <a:cubicBezTo>
                      <a:pt x="745" y="453"/>
                      <a:pt x="733" y="448"/>
                      <a:pt x="720" y="448"/>
                    </a:cubicBezTo>
                    <a:cubicBezTo>
                      <a:pt x="487" y="448"/>
                      <a:pt x="487" y="448"/>
                      <a:pt x="487" y="448"/>
                    </a:cubicBezTo>
                    <a:cubicBezTo>
                      <a:pt x="460" y="448"/>
                      <a:pt x="439" y="470"/>
                      <a:pt x="439" y="497"/>
                    </a:cubicBezTo>
                    <a:cubicBezTo>
                      <a:pt x="439" y="557"/>
                      <a:pt x="439" y="557"/>
                      <a:pt x="439" y="557"/>
                    </a:cubicBezTo>
                    <a:cubicBezTo>
                      <a:pt x="277" y="557"/>
                      <a:pt x="277" y="557"/>
                      <a:pt x="277" y="557"/>
                    </a:cubicBezTo>
                    <a:cubicBezTo>
                      <a:pt x="206" y="557"/>
                      <a:pt x="147" y="608"/>
                      <a:pt x="134" y="674"/>
                    </a:cubicBezTo>
                    <a:cubicBezTo>
                      <a:pt x="48" y="674"/>
                      <a:pt x="48" y="674"/>
                      <a:pt x="48" y="674"/>
                    </a:cubicBezTo>
                    <a:cubicBezTo>
                      <a:pt x="22" y="674"/>
                      <a:pt x="0" y="696"/>
                      <a:pt x="0" y="723"/>
                    </a:cubicBezTo>
                    <a:cubicBezTo>
                      <a:pt x="0" y="910"/>
                      <a:pt x="0" y="910"/>
                      <a:pt x="0" y="910"/>
                    </a:cubicBezTo>
                    <a:cubicBezTo>
                      <a:pt x="0" y="937"/>
                      <a:pt x="22" y="958"/>
                      <a:pt x="48" y="958"/>
                    </a:cubicBezTo>
                    <a:cubicBezTo>
                      <a:pt x="135" y="958"/>
                      <a:pt x="135" y="958"/>
                      <a:pt x="135" y="958"/>
                    </a:cubicBezTo>
                    <a:cubicBezTo>
                      <a:pt x="149" y="1023"/>
                      <a:pt x="207" y="1072"/>
                      <a:pt x="277" y="1072"/>
                    </a:cubicBezTo>
                    <a:cubicBezTo>
                      <a:pt x="669" y="1072"/>
                      <a:pt x="669" y="1072"/>
                      <a:pt x="669" y="1072"/>
                    </a:cubicBezTo>
                    <a:cubicBezTo>
                      <a:pt x="669" y="1134"/>
                      <a:pt x="669" y="1134"/>
                      <a:pt x="669" y="1134"/>
                    </a:cubicBezTo>
                    <a:cubicBezTo>
                      <a:pt x="669" y="1161"/>
                      <a:pt x="691" y="1182"/>
                      <a:pt x="718" y="1182"/>
                    </a:cubicBezTo>
                    <a:cubicBezTo>
                      <a:pt x="950" y="1182"/>
                      <a:pt x="950" y="1182"/>
                      <a:pt x="950" y="1182"/>
                    </a:cubicBezTo>
                    <a:cubicBezTo>
                      <a:pt x="977" y="1182"/>
                      <a:pt x="999" y="1161"/>
                      <a:pt x="999" y="1134"/>
                    </a:cubicBezTo>
                    <a:cubicBezTo>
                      <a:pt x="999" y="1072"/>
                      <a:pt x="999" y="1072"/>
                      <a:pt x="999" y="1072"/>
                    </a:cubicBezTo>
                    <a:cubicBezTo>
                      <a:pt x="1144" y="1072"/>
                      <a:pt x="1144" y="1072"/>
                      <a:pt x="1144" y="1072"/>
                    </a:cubicBezTo>
                    <a:cubicBezTo>
                      <a:pt x="1154" y="1086"/>
                      <a:pt x="1170" y="1095"/>
                      <a:pt x="1189" y="1095"/>
                    </a:cubicBezTo>
                    <a:cubicBezTo>
                      <a:pt x="1220" y="1095"/>
                      <a:pt x="1245" y="1069"/>
                      <a:pt x="1245" y="1038"/>
                    </a:cubicBezTo>
                    <a:cubicBezTo>
                      <a:pt x="1245" y="1007"/>
                      <a:pt x="1220" y="981"/>
                      <a:pt x="1189" y="98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Freeform 6"/>
              <p:cNvSpPr>
                <a:spLocks/>
              </p:cNvSpPr>
              <p:nvPr/>
            </p:nvSpPr>
            <p:spPr bwMode="auto">
              <a:xfrm>
                <a:off x="1784350" y="1203981"/>
                <a:ext cx="1217613" cy="1011238"/>
              </a:xfrm>
              <a:custGeom>
                <a:avLst/>
                <a:gdLst>
                  <a:gd name="T0" fmla="*/ 0 w 277"/>
                  <a:gd name="T1" fmla="*/ 22 h 230"/>
                  <a:gd name="T2" fmla="*/ 22 w 277"/>
                  <a:gd name="T3" fmla="*/ 0 h 230"/>
                  <a:gd name="T4" fmla="*/ 255 w 277"/>
                  <a:gd name="T5" fmla="*/ 0 h 230"/>
                  <a:gd name="T6" fmla="*/ 277 w 277"/>
                  <a:gd name="T7" fmla="*/ 22 h 230"/>
                  <a:gd name="T8" fmla="*/ 277 w 277"/>
                  <a:gd name="T9" fmla="*/ 208 h 230"/>
                  <a:gd name="T10" fmla="*/ 255 w 277"/>
                  <a:gd name="T11" fmla="*/ 230 h 230"/>
                  <a:gd name="T12" fmla="*/ 22 w 277"/>
                  <a:gd name="T13" fmla="*/ 230 h 230"/>
                  <a:gd name="T14" fmla="*/ 0 w 277"/>
                  <a:gd name="T15" fmla="*/ 208 h 230"/>
                  <a:gd name="T16" fmla="*/ 0 w 277"/>
                  <a:gd name="T17" fmla="*/ 2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7" h="230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67" y="0"/>
                      <a:pt x="277" y="10"/>
                      <a:pt x="277" y="22"/>
                    </a:cubicBezTo>
                    <a:cubicBezTo>
                      <a:pt x="277" y="208"/>
                      <a:pt x="277" y="208"/>
                      <a:pt x="277" y="208"/>
                    </a:cubicBezTo>
                    <a:cubicBezTo>
                      <a:pt x="277" y="220"/>
                      <a:pt x="267" y="230"/>
                      <a:pt x="255" y="230"/>
                    </a:cubicBezTo>
                    <a:cubicBezTo>
                      <a:pt x="22" y="230"/>
                      <a:pt x="22" y="230"/>
                      <a:pt x="22" y="230"/>
                    </a:cubicBezTo>
                    <a:cubicBezTo>
                      <a:pt x="10" y="230"/>
                      <a:pt x="0" y="220"/>
                      <a:pt x="0" y="208"/>
                    </a:cubicBezTo>
                    <a:cubicBezTo>
                      <a:pt x="0" y="22"/>
                      <a:pt x="0" y="22"/>
                      <a:pt x="0" y="22"/>
                    </a:cubicBezTo>
                  </a:path>
                </a:pathLst>
              </a:custGeom>
              <a:solidFill>
                <a:srgbClr val="F6AC40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Freeform 7"/>
              <p:cNvSpPr>
                <a:spLocks/>
              </p:cNvSpPr>
              <p:nvPr/>
            </p:nvSpPr>
            <p:spPr bwMode="auto">
              <a:xfrm>
                <a:off x="4233862" y="2175531"/>
                <a:ext cx="1214438" cy="1016000"/>
              </a:xfrm>
              <a:custGeom>
                <a:avLst/>
                <a:gdLst>
                  <a:gd name="T0" fmla="*/ 0 w 276"/>
                  <a:gd name="T1" fmla="*/ 22 h 231"/>
                  <a:gd name="T2" fmla="*/ 22 w 276"/>
                  <a:gd name="T3" fmla="*/ 0 h 231"/>
                  <a:gd name="T4" fmla="*/ 254 w 276"/>
                  <a:gd name="T5" fmla="*/ 0 h 231"/>
                  <a:gd name="T6" fmla="*/ 276 w 276"/>
                  <a:gd name="T7" fmla="*/ 22 h 231"/>
                  <a:gd name="T8" fmla="*/ 276 w 276"/>
                  <a:gd name="T9" fmla="*/ 209 h 231"/>
                  <a:gd name="T10" fmla="*/ 254 w 276"/>
                  <a:gd name="T11" fmla="*/ 231 h 231"/>
                  <a:gd name="T12" fmla="*/ 22 w 276"/>
                  <a:gd name="T13" fmla="*/ 231 h 231"/>
                  <a:gd name="T14" fmla="*/ 0 w 276"/>
                  <a:gd name="T15" fmla="*/ 209 h 231"/>
                  <a:gd name="T16" fmla="*/ 0 w 276"/>
                  <a:gd name="T17" fmla="*/ 2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6" h="231">
                    <a:moveTo>
                      <a:pt x="0" y="22"/>
                    </a:moveTo>
                    <a:cubicBezTo>
                      <a:pt x="0" y="10"/>
                      <a:pt x="9" y="0"/>
                      <a:pt x="22" y="0"/>
                    </a:cubicBezTo>
                    <a:cubicBezTo>
                      <a:pt x="254" y="0"/>
                      <a:pt x="254" y="0"/>
                      <a:pt x="254" y="0"/>
                    </a:cubicBezTo>
                    <a:cubicBezTo>
                      <a:pt x="266" y="0"/>
                      <a:pt x="276" y="10"/>
                      <a:pt x="276" y="22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21"/>
                      <a:pt x="266" y="231"/>
                      <a:pt x="254" y="231"/>
                    </a:cubicBezTo>
                    <a:cubicBezTo>
                      <a:pt x="22" y="231"/>
                      <a:pt x="22" y="231"/>
                      <a:pt x="22" y="231"/>
                    </a:cubicBezTo>
                    <a:cubicBezTo>
                      <a:pt x="9" y="231"/>
                      <a:pt x="0" y="221"/>
                      <a:pt x="0" y="209"/>
                    </a:cubicBezTo>
                    <a:cubicBezTo>
                      <a:pt x="0" y="22"/>
                      <a:pt x="0" y="22"/>
                      <a:pt x="0" y="22"/>
                    </a:cubicBezTo>
                  </a:path>
                </a:pathLst>
              </a:custGeom>
              <a:solidFill>
                <a:srgbClr val="F3698A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Freeform 8"/>
              <p:cNvSpPr>
                <a:spLocks/>
              </p:cNvSpPr>
              <p:nvPr/>
            </p:nvSpPr>
            <p:spPr bwMode="auto">
              <a:xfrm>
                <a:off x="2325687" y="3174068"/>
                <a:ext cx="1217613" cy="1016000"/>
              </a:xfrm>
              <a:custGeom>
                <a:avLst/>
                <a:gdLst>
                  <a:gd name="T0" fmla="*/ 0 w 277"/>
                  <a:gd name="T1" fmla="*/ 22 h 231"/>
                  <a:gd name="T2" fmla="*/ 22 w 277"/>
                  <a:gd name="T3" fmla="*/ 0 h 231"/>
                  <a:gd name="T4" fmla="*/ 255 w 277"/>
                  <a:gd name="T5" fmla="*/ 0 h 231"/>
                  <a:gd name="T6" fmla="*/ 277 w 277"/>
                  <a:gd name="T7" fmla="*/ 22 h 231"/>
                  <a:gd name="T8" fmla="*/ 277 w 277"/>
                  <a:gd name="T9" fmla="*/ 209 h 231"/>
                  <a:gd name="T10" fmla="*/ 255 w 277"/>
                  <a:gd name="T11" fmla="*/ 231 h 231"/>
                  <a:gd name="T12" fmla="*/ 22 w 277"/>
                  <a:gd name="T13" fmla="*/ 231 h 231"/>
                  <a:gd name="T14" fmla="*/ 0 w 277"/>
                  <a:gd name="T15" fmla="*/ 209 h 231"/>
                  <a:gd name="T16" fmla="*/ 0 w 277"/>
                  <a:gd name="T17" fmla="*/ 2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7" h="231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67" y="0"/>
                      <a:pt x="277" y="10"/>
                      <a:pt x="277" y="22"/>
                    </a:cubicBezTo>
                    <a:cubicBezTo>
                      <a:pt x="277" y="209"/>
                      <a:pt x="277" y="209"/>
                      <a:pt x="277" y="209"/>
                    </a:cubicBezTo>
                    <a:cubicBezTo>
                      <a:pt x="277" y="221"/>
                      <a:pt x="267" y="231"/>
                      <a:pt x="255" y="231"/>
                    </a:cubicBezTo>
                    <a:cubicBezTo>
                      <a:pt x="22" y="231"/>
                      <a:pt x="22" y="231"/>
                      <a:pt x="22" y="231"/>
                    </a:cubicBezTo>
                    <a:cubicBezTo>
                      <a:pt x="10" y="231"/>
                      <a:pt x="0" y="221"/>
                      <a:pt x="0" y="209"/>
                    </a:cubicBezTo>
                    <a:cubicBezTo>
                      <a:pt x="0" y="22"/>
                      <a:pt x="0" y="22"/>
                      <a:pt x="0" y="22"/>
                    </a:cubicBezTo>
                  </a:path>
                </a:pathLst>
              </a:cu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Freeform 9"/>
              <p:cNvSpPr>
                <a:spLocks/>
              </p:cNvSpPr>
              <p:nvPr/>
            </p:nvSpPr>
            <p:spPr bwMode="auto">
              <a:xfrm>
                <a:off x="393700" y="4167843"/>
                <a:ext cx="1219200" cy="1016000"/>
              </a:xfrm>
              <a:custGeom>
                <a:avLst/>
                <a:gdLst>
                  <a:gd name="T0" fmla="*/ 0 w 277"/>
                  <a:gd name="T1" fmla="*/ 22 h 231"/>
                  <a:gd name="T2" fmla="*/ 22 w 277"/>
                  <a:gd name="T3" fmla="*/ 0 h 231"/>
                  <a:gd name="T4" fmla="*/ 255 w 277"/>
                  <a:gd name="T5" fmla="*/ 0 h 231"/>
                  <a:gd name="T6" fmla="*/ 277 w 277"/>
                  <a:gd name="T7" fmla="*/ 22 h 231"/>
                  <a:gd name="T8" fmla="*/ 277 w 277"/>
                  <a:gd name="T9" fmla="*/ 209 h 231"/>
                  <a:gd name="T10" fmla="*/ 255 w 277"/>
                  <a:gd name="T11" fmla="*/ 231 h 231"/>
                  <a:gd name="T12" fmla="*/ 22 w 277"/>
                  <a:gd name="T13" fmla="*/ 231 h 231"/>
                  <a:gd name="T14" fmla="*/ 0 w 277"/>
                  <a:gd name="T15" fmla="*/ 209 h 231"/>
                  <a:gd name="T16" fmla="*/ 0 w 277"/>
                  <a:gd name="T17" fmla="*/ 2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7" h="231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67" y="0"/>
                      <a:pt x="277" y="10"/>
                      <a:pt x="277" y="22"/>
                    </a:cubicBezTo>
                    <a:cubicBezTo>
                      <a:pt x="277" y="209"/>
                      <a:pt x="277" y="209"/>
                      <a:pt x="277" y="209"/>
                    </a:cubicBezTo>
                    <a:cubicBezTo>
                      <a:pt x="277" y="221"/>
                      <a:pt x="267" y="231"/>
                      <a:pt x="255" y="231"/>
                    </a:cubicBezTo>
                    <a:cubicBezTo>
                      <a:pt x="22" y="231"/>
                      <a:pt x="22" y="231"/>
                      <a:pt x="22" y="231"/>
                    </a:cubicBezTo>
                    <a:cubicBezTo>
                      <a:pt x="10" y="231"/>
                      <a:pt x="0" y="221"/>
                      <a:pt x="0" y="209"/>
                    </a:cubicBezTo>
                    <a:cubicBezTo>
                      <a:pt x="0" y="22"/>
                      <a:pt x="0" y="22"/>
                      <a:pt x="0" y="22"/>
                    </a:cubicBezTo>
                  </a:path>
                </a:pathLst>
              </a:custGeom>
              <a:solidFill>
                <a:srgbClr val="4BAEE2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7" name="Freeform 10"/>
              <p:cNvSpPr>
                <a:spLocks/>
              </p:cNvSpPr>
              <p:nvPr/>
            </p:nvSpPr>
            <p:spPr bwMode="auto">
              <a:xfrm>
                <a:off x="3341687" y="5153681"/>
                <a:ext cx="1212850" cy="1016000"/>
              </a:xfrm>
              <a:custGeom>
                <a:avLst/>
                <a:gdLst>
                  <a:gd name="T0" fmla="*/ 0 w 276"/>
                  <a:gd name="T1" fmla="*/ 22 h 231"/>
                  <a:gd name="T2" fmla="*/ 22 w 276"/>
                  <a:gd name="T3" fmla="*/ 0 h 231"/>
                  <a:gd name="T4" fmla="*/ 254 w 276"/>
                  <a:gd name="T5" fmla="*/ 0 h 231"/>
                  <a:gd name="T6" fmla="*/ 276 w 276"/>
                  <a:gd name="T7" fmla="*/ 22 h 231"/>
                  <a:gd name="T8" fmla="*/ 276 w 276"/>
                  <a:gd name="T9" fmla="*/ 209 h 231"/>
                  <a:gd name="T10" fmla="*/ 254 w 276"/>
                  <a:gd name="T11" fmla="*/ 231 h 231"/>
                  <a:gd name="T12" fmla="*/ 22 w 276"/>
                  <a:gd name="T13" fmla="*/ 231 h 231"/>
                  <a:gd name="T14" fmla="*/ 0 w 276"/>
                  <a:gd name="T15" fmla="*/ 209 h 231"/>
                  <a:gd name="T16" fmla="*/ 0 w 276"/>
                  <a:gd name="T17" fmla="*/ 2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6" h="231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  <a:cubicBezTo>
                      <a:pt x="254" y="0"/>
                      <a:pt x="254" y="0"/>
                      <a:pt x="254" y="0"/>
                    </a:cubicBezTo>
                    <a:cubicBezTo>
                      <a:pt x="266" y="0"/>
                      <a:pt x="276" y="10"/>
                      <a:pt x="276" y="22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21"/>
                      <a:pt x="266" y="231"/>
                      <a:pt x="254" y="231"/>
                    </a:cubicBezTo>
                    <a:cubicBezTo>
                      <a:pt x="22" y="231"/>
                      <a:pt x="22" y="231"/>
                      <a:pt x="22" y="231"/>
                    </a:cubicBezTo>
                    <a:cubicBezTo>
                      <a:pt x="10" y="231"/>
                      <a:pt x="0" y="221"/>
                      <a:pt x="0" y="209"/>
                    </a:cubicBezTo>
                    <a:cubicBezTo>
                      <a:pt x="0" y="22"/>
                      <a:pt x="0" y="22"/>
                      <a:pt x="0" y="22"/>
                    </a:cubicBezTo>
                  </a:path>
                </a:pathLst>
              </a:cu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Oval 11"/>
              <p:cNvSpPr>
                <a:spLocks noChangeArrowheads="1"/>
              </p:cNvSpPr>
              <p:nvPr/>
            </p:nvSpPr>
            <p:spPr bwMode="auto">
              <a:xfrm>
                <a:off x="869950" y="1621493"/>
                <a:ext cx="196850" cy="198438"/>
              </a:xfrm>
              <a:prstGeom prst="ellipse">
                <a:avLst/>
              </a:pr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Oval 12"/>
              <p:cNvSpPr>
                <a:spLocks noChangeArrowheads="1"/>
              </p:cNvSpPr>
              <p:nvPr/>
            </p:nvSpPr>
            <p:spPr bwMode="auto">
              <a:xfrm>
                <a:off x="5408612" y="5548968"/>
                <a:ext cx="201613" cy="203200"/>
              </a:xfrm>
              <a:prstGeom prst="ellipse">
                <a:avLst/>
              </a:pr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0" name="Freeform 13"/>
              <p:cNvSpPr>
                <a:spLocks/>
              </p:cNvSpPr>
              <p:nvPr/>
            </p:nvSpPr>
            <p:spPr bwMode="auto">
              <a:xfrm>
                <a:off x="1784350" y="1203981"/>
                <a:ext cx="1217613" cy="1011238"/>
              </a:xfrm>
              <a:custGeom>
                <a:avLst/>
                <a:gdLst>
                  <a:gd name="T0" fmla="*/ 255 w 277"/>
                  <a:gd name="T1" fmla="*/ 0 h 230"/>
                  <a:gd name="T2" fmla="*/ 22 w 277"/>
                  <a:gd name="T3" fmla="*/ 0 h 230"/>
                  <a:gd name="T4" fmla="*/ 0 w 277"/>
                  <a:gd name="T5" fmla="*/ 22 h 230"/>
                  <a:gd name="T6" fmla="*/ 0 w 277"/>
                  <a:gd name="T7" fmla="*/ 208 h 230"/>
                  <a:gd name="T8" fmla="*/ 22 w 277"/>
                  <a:gd name="T9" fmla="*/ 230 h 230"/>
                  <a:gd name="T10" fmla="*/ 33 w 277"/>
                  <a:gd name="T11" fmla="*/ 230 h 230"/>
                  <a:gd name="T12" fmla="*/ 33 w 277"/>
                  <a:gd name="T13" fmla="*/ 54 h 230"/>
                  <a:gd name="T14" fmla="*/ 55 w 277"/>
                  <a:gd name="T15" fmla="*/ 32 h 230"/>
                  <a:gd name="T16" fmla="*/ 277 w 277"/>
                  <a:gd name="T17" fmla="*/ 32 h 230"/>
                  <a:gd name="T18" fmla="*/ 277 w 277"/>
                  <a:gd name="T19" fmla="*/ 22 h 230"/>
                  <a:gd name="T20" fmla="*/ 255 w 277"/>
                  <a:gd name="T21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7" h="230">
                    <a:moveTo>
                      <a:pt x="255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20"/>
                      <a:pt x="10" y="230"/>
                      <a:pt x="22" y="230"/>
                    </a:cubicBezTo>
                    <a:cubicBezTo>
                      <a:pt x="33" y="230"/>
                      <a:pt x="33" y="230"/>
                      <a:pt x="33" y="230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3" y="42"/>
                      <a:pt x="43" y="32"/>
                      <a:pt x="55" y="32"/>
                    </a:cubicBezTo>
                    <a:cubicBezTo>
                      <a:pt x="277" y="32"/>
                      <a:pt x="277" y="32"/>
                      <a:pt x="277" y="32"/>
                    </a:cubicBezTo>
                    <a:cubicBezTo>
                      <a:pt x="277" y="22"/>
                      <a:pt x="277" y="22"/>
                      <a:pt x="277" y="22"/>
                    </a:cubicBezTo>
                    <a:cubicBezTo>
                      <a:pt x="277" y="10"/>
                      <a:pt x="267" y="0"/>
                      <a:pt x="255" y="0"/>
                    </a:cubicBezTo>
                  </a:path>
                </a:pathLst>
              </a:custGeom>
              <a:solidFill>
                <a:srgbClr val="F49C1A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" name="Freeform 14"/>
              <p:cNvSpPr>
                <a:spLocks/>
              </p:cNvSpPr>
              <p:nvPr/>
            </p:nvSpPr>
            <p:spPr bwMode="auto">
              <a:xfrm>
                <a:off x="4233862" y="2175531"/>
                <a:ext cx="1214438" cy="1016000"/>
              </a:xfrm>
              <a:custGeom>
                <a:avLst/>
                <a:gdLst>
                  <a:gd name="T0" fmla="*/ 254 w 276"/>
                  <a:gd name="T1" fmla="*/ 0 h 231"/>
                  <a:gd name="T2" fmla="*/ 22 w 276"/>
                  <a:gd name="T3" fmla="*/ 0 h 231"/>
                  <a:gd name="T4" fmla="*/ 0 w 276"/>
                  <a:gd name="T5" fmla="*/ 22 h 231"/>
                  <a:gd name="T6" fmla="*/ 0 w 276"/>
                  <a:gd name="T7" fmla="*/ 209 h 231"/>
                  <a:gd name="T8" fmla="*/ 22 w 276"/>
                  <a:gd name="T9" fmla="*/ 231 h 231"/>
                  <a:gd name="T10" fmla="*/ 32 w 276"/>
                  <a:gd name="T11" fmla="*/ 231 h 231"/>
                  <a:gd name="T12" fmla="*/ 32 w 276"/>
                  <a:gd name="T13" fmla="*/ 55 h 231"/>
                  <a:gd name="T14" fmla="*/ 54 w 276"/>
                  <a:gd name="T15" fmla="*/ 33 h 231"/>
                  <a:gd name="T16" fmla="*/ 276 w 276"/>
                  <a:gd name="T17" fmla="*/ 33 h 231"/>
                  <a:gd name="T18" fmla="*/ 276 w 276"/>
                  <a:gd name="T19" fmla="*/ 22 h 231"/>
                  <a:gd name="T20" fmla="*/ 254 w 276"/>
                  <a:gd name="T2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6" h="231">
                    <a:moveTo>
                      <a:pt x="25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21"/>
                      <a:pt x="9" y="231"/>
                      <a:pt x="22" y="231"/>
                    </a:cubicBezTo>
                    <a:cubicBezTo>
                      <a:pt x="32" y="231"/>
                      <a:pt x="32" y="231"/>
                      <a:pt x="32" y="231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2" y="43"/>
                      <a:pt x="42" y="33"/>
                      <a:pt x="54" y="33"/>
                    </a:cubicBezTo>
                    <a:cubicBezTo>
                      <a:pt x="276" y="33"/>
                      <a:pt x="276" y="33"/>
                      <a:pt x="276" y="33"/>
                    </a:cubicBezTo>
                    <a:cubicBezTo>
                      <a:pt x="276" y="22"/>
                      <a:pt x="276" y="22"/>
                      <a:pt x="276" y="22"/>
                    </a:cubicBezTo>
                    <a:cubicBezTo>
                      <a:pt x="276" y="10"/>
                      <a:pt x="266" y="0"/>
                      <a:pt x="254" y="0"/>
                    </a:cubicBezTo>
                  </a:path>
                </a:pathLst>
              </a:custGeom>
              <a:solidFill>
                <a:srgbClr val="F0466E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2" name="Freeform 15"/>
              <p:cNvSpPr>
                <a:spLocks/>
              </p:cNvSpPr>
              <p:nvPr/>
            </p:nvSpPr>
            <p:spPr bwMode="auto">
              <a:xfrm>
                <a:off x="2325687" y="3174068"/>
                <a:ext cx="1217613" cy="1016000"/>
              </a:xfrm>
              <a:custGeom>
                <a:avLst/>
                <a:gdLst>
                  <a:gd name="T0" fmla="*/ 255 w 277"/>
                  <a:gd name="T1" fmla="*/ 0 h 231"/>
                  <a:gd name="T2" fmla="*/ 22 w 277"/>
                  <a:gd name="T3" fmla="*/ 0 h 231"/>
                  <a:gd name="T4" fmla="*/ 0 w 277"/>
                  <a:gd name="T5" fmla="*/ 22 h 231"/>
                  <a:gd name="T6" fmla="*/ 0 w 277"/>
                  <a:gd name="T7" fmla="*/ 209 h 231"/>
                  <a:gd name="T8" fmla="*/ 22 w 277"/>
                  <a:gd name="T9" fmla="*/ 231 h 231"/>
                  <a:gd name="T10" fmla="*/ 33 w 277"/>
                  <a:gd name="T11" fmla="*/ 231 h 231"/>
                  <a:gd name="T12" fmla="*/ 33 w 277"/>
                  <a:gd name="T13" fmla="*/ 55 h 231"/>
                  <a:gd name="T14" fmla="*/ 55 w 277"/>
                  <a:gd name="T15" fmla="*/ 33 h 231"/>
                  <a:gd name="T16" fmla="*/ 277 w 277"/>
                  <a:gd name="T17" fmla="*/ 33 h 231"/>
                  <a:gd name="T18" fmla="*/ 277 w 277"/>
                  <a:gd name="T19" fmla="*/ 22 h 231"/>
                  <a:gd name="T20" fmla="*/ 255 w 277"/>
                  <a:gd name="T2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7" h="231">
                    <a:moveTo>
                      <a:pt x="255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21"/>
                      <a:pt x="10" y="231"/>
                      <a:pt x="22" y="231"/>
                    </a:cubicBezTo>
                    <a:cubicBezTo>
                      <a:pt x="33" y="231"/>
                      <a:pt x="33" y="231"/>
                      <a:pt x="33" y="231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3" y="43"/>
                      <a:pt x="43" y="33"/>
                      <a:pt x="55" y="33"/>
                    </a:cubicBezTo>
                    <a:cubicBezTo>
                      <a:pt x="277" y="33"/>
                      <a:pt x="277" y="33"/>
                      <a:pt x="277" y="33"/>
                    </a:cubicBezTo>
                    <a:cubicBezTo>
                      <a:pt x="277" y="22"/>
                      <a:pt x="277" y="22"/>
                      <a:pt x="277" y="22"/>
                    </a:cubicBezTo>
                    <a:cubicBezTo>
                      <a:pt x="277" y="10"/>
                      <a:pt x="267" y="0"/>
                      <a:pt x="255" y="0"/>
                    </a:cubicBezTo>
                  </a:path>
                </a:pathLst>
              </a:custGeom>
              <a:solidFill>
                <a:srgbClr val="373E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Freeform 16"/>
              <p:cNvSpPr>
                <a:spLocks/>
              </p:cNvSpPr>
              <p:nvPr/>
            </p:nvSpPr>
            <p:spPr bwMode="auto">
              <a:xfrm>
                <a:off x="393700" y="4167843"/>
                <a:ext cx="1219200" cy="1016000"/>
              </a:xfrm>
              <a:custGeom>
                <a:avLst/>
                <a:gdLst>
                  <a:gd name="T0" fmla="*/ 255 w 277"/>
                  <a:gd name="T1" fmla="*/ 0 h 231"/>
                  <a:gd name="T2" fmla="*/ 22 w 277"/>
                  <a:gd name="T3" fmla="*/ 0 h 231"/>
                  <a:gd name="T4" fmla="*/ 0 w 277"/>
                  <a:gd name="T5" fmla="*/ 22 h 231"/>
                  <a:gd name="T6" fmla="*/ 0 w 277"/>
                  <a:gd name="T7" fmla="*/ 209 h 231"/>
                  <a:gd name="T8" fmla="*/ 22 w 277"/>
                  <a:gd name="T9" fmla="*/ 231 h 231"/>
                  <a:gd name="T10" fmla="*/ 33 w 277"/>
                  <a:gd name="T11" fmla="*/ 231 h 231"/>
                  <a:gd name="T12" fmla="*/ 33 w 277"/>
                  <a:gd name="T13" fmla="*/ 55 h 231"/>
                  <a:gd name="T14" fmla="*/ 55 w 277"/>
                  <a:gd name="T15" fmla="*/ 33 h 231"/>
                  <a:gd name="T16" fmla="*/ 277 w 277"/>
                  <a:gd name="T17" fmla="*/ 33 h 231"/>
                  <a:gd name="T18" fmla="*/ 277 w 277"/>
                  <a:gd name="T19" fmla="*/ 22 h 231"/>
                  <a:gd name="T20" fmla="*/ 255 w 277"/>
                  <a:gd name="T2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7" h="231">
                    <a:moveTo>
                      <a:pt x="255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21"/>
                      <a:pt x="10" y="231"/>
                      <a:pt x="22" y="231"/>
                    </a:cubicBezTo>
                    <a:cubicBezTo>
                      <a:pt x="33" y="231"/>
                      <a:pt x="33" y="231"/>
                      <a:pt x="33" y="231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3" y="43"/>
                      <a:pt x="43" y="33"/>
                      <a:pt x="55" y="33"/>
                    </a:cubicBezTo>
                    <a:cubicBezTo>
                      <a:pt x="277" y="33"/>
                      <a:pt x="277" y="33"/>
                      <a:pt x="277" y="33"/>
                    </a:cubicBezTo>
                    <a:cubicBezTo>
                      <a:pt x="277" y="22"/>
                      <a:pt x="277" y="22"/>
                      <a:pt x="277" y="22"/>
                    </a:cubicBezTo>
                    <a:cubicBezTo>
                      <a:pt x="277" y="10"/>
                      <a:pt x="267" y="0"/>
                      <a:pt x="255" y="0"/>
                    </a:cubicBezTo>
                  </a:path>
                </a:pathLst>
              </a:custGeom>
              <a:solidFill>
                <a:srgbClr val="2AA1DC"/>
              </a:solidFill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Freeform 17"/>
              <p:cNvSpPr>
                <a:spLocks/>
              </p:cNvSpPr>
              <p:nvPr/>
            </p:nvSpPr>
            <p:spPr bwMode="auto">
              <a:xfrm>
                <a:off x="3341687" y="5153681"/>
                <a:ext cx="1212850" cy="1016000"/>
              </a:xfrm>
              <a:custGeom>
                <a:avLst/>
                <a:gdLst>
                  <a:gd name="T0" fmla="*/ 254 w 276"/>
                  <a:gd name="T1" fmla="*/ 0 h 231"/>
                  <a:gd name="T2" fmla="*/ 22 w 276"/>
                  <a:gd name="T3" fmla="*/ 0 h 231"/>
                  <a:gd name="T4" fmla="*/ 0 w 276"/>
                  <a:gd name="T5" fmla="*/ 22 h 231"/>
                  <a:gd name="T6" fmla="*/ 0 w 276"/>
                  <a:gd name="T7" fmla="*/ 209 h 231"/>
                  <a:gd name="T8" fmla="*/ 22 w 276"/>
                  <a:gd name="T9" fmla="*/ 231 h 231"/>
                  <a:gd name="T10" fmla="*/ 33 w 276"/>
                  <a:gd name="T11" fmla="*/ 231 h 231"/>
                  <a:gd name="T12" fmla="*/ 33 w 276"/>
                  <a:gd name="T13" fmla="*/ 55 h 231"/>
                  <a:gd name="T14" fmla="*/ 55 w 276"/>
                  <a:gd name="T15" fmla="*/ 33 h 231"/>
                  <a:gd name="T16" fmla="*/ 276 w 276"/>
                  <a:gd name="T17" fmla="*/ 33 h 231"/>
                  <a:gd name="T18" fmla="*/ 276 w 276"/>
                  <a:gd name="T19" fmla="*/ 22 h 231"/>
                  <a:gd name="T20" fmla="*/ 254 w 276"/>
                  <a:gd name="T2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6" h="231">
                    <a:moveTo>
                      <a:pt x="25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21"/>
                      <a:pt x="10" y="231"/>
                      <a:pt x="22" y="231"/>
                    </a:cubicBezTo>
                    <a:cubicBezTo>
                      <a:pt x="33" y="231"/>
                      <a:pt x="33" y="231"/>
                      <a:pt x="33" y="231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3" y="43"/>
                      <a:pt x="42" y="33"/>
                      <a:pt x="55" y="33"/>
                    </a:cubicBezTo>
                    <a:cubicBezTo>
                      <a:pt x="276" y="33"/>
                      <a:pt x="276" y="33"/>
                      <a:pt x="276" y="33"/>
                    </a:cubicBezTo>
                    <a:cubicBezTo>
                      <a:pt x="276" y="22"/>
                      <a:pt x="276" y="22"/>
                      <a:pt x="276" y="22"/>
                    </a:cubicBezTo>
                    <a:cubicBezTo>
                      <a:pt x="276" y="10"/>
                      <a:pt x="266" y="0"/>
                      <a:pt x="254" y="0"/>
                    </a:cubicBezTo>
                  </a:path>
                </a:pathLst>
              </a:custGeom>
              <a:solidFill>
                <a:srgbClr val="7A48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Freeform 18"/>
              <p:cNvSpPr>
                <a:spLocks/>
              </p:cNvSpPr>
              <p:nvPr/>
            </p:nvSpPr>
            <p:spPr bwMode="auto">
              <a:xfrm>
                <a:off x="3103562" y="1211918"/>
                <a:ext cx="127000" cy="352425"/>
              </a:xfrm>
              <a:custGeom>
                <a:avLst/>
                <a:gdLst>
                  <a:gd name="T0" fmla="*/ 0 w 29"/>
                  <a:gd name="T1" fmla="*/ 0 h 80"/>
                  <a:gd name="T2" fmla="*/ 3 w 29"/>
                  <a:gd name="T3" fmla="*/ 19 h 80"/>
                  <a:gd name="T4" fmla="*/ 3 w 29"/>
                  <a:gd name="T5" fmla="*/ 19 h 80"/>
                  <a:gd name="T6" fmla="*/ 3 w 29"/>
                  <a:gd name="T7" fmla="*/ 19 h 80"/>
                  <a:gd name="T8" fmla="*/ 3 w 29"/>
                  <a:gd name="T9" fmla="*/ 19 h 80"/>
                  <a:gd name="T10" fmla="*/ 3 w 29"/>
                  <a:gd name="T11" fmla="*/ 20 h 80"/>
                  <a:gd name="T12" fmla="*/ 3 w 29"/>
                  <a:gd name="T13" fmla="*/ 20 h 80"/>
                  <a:gd name="T14" fmla="*/ 3 w 29"/>
                  <a:gd name="T15" fmla="*/ 80 h 80"/>
                  <a:gd name="T16" fmla="*/ 29 w 29"/>
                  <a:gd name="T17" fmla="*/ 80 h 80"/>
                  <a:gd name="T18" fmla="*/ 29 w 29"/>
                  <a:gd name="T19" fmla="*/ 45 h 80"/>
                  <a:gd name="T20" fmla="*/ 15 w 29"/>
                  <a:gd name="T21" fmla="*/ 11 h 80"/>
                  <a:gd name="T22" fmla="*/ 0 w 29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80">
                    <a:moveTo>
                      <a:pt x="0" y="0"/>
                    </a:moveTo>
                    <a:cubicBezTo>
                      <a:pt x="2" y="6"/>
                      <a:pt x="3" y="13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32"/>
                      <a:pt x="24" y="20"/>
                      <a:pt x="15" y="11"/>
                    </a:cubicBezTo>
                    <a:cubicBezTo>
                      <a:pt x="10" y="6"/>
                      <a:pt x="5" y="3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6" name="Freeform 19"/>
              <p:cNvSpPr>
                <a:spLocks noEditPoints="1"/>
              </p:cNvSpPr>
              <p:nvPr/>
            </p:nvSpPr>
            <p:spPr bwMode="auto">
              <a:xfrm>
                <a:off x="3103562" y="1211918"/>
                <a:ext cx="12700" cy="88900"/>
              </a:xfrm>
              <a:custGeom>
                <a:avLst/>
                <a:gdLst>
                  <a:gd name="T0" fmla="*/ 3 w 3"/>
                  <a:gd name="T1" fmla="*/ 19 h 20"/>
                  <a:gd name="T2" fmla="*/ 3 w 3"/>
                  <a:gd name="T3" fmla="*/ 20 h 20"/>
                  <a:gd name="T4" fmla="*/ 3 w 3"/>
                  <a:gd name="T5" fmla="*/ 19 h 20"/>
                  <a:gd name="T6" fmla="*/ 3 w 3"/>
                  <a:gd name="T7" fmla="*/ 19 h 20"/>
                  <a:gd name="T8" fmla="*/ 3 w 3"/>
                  <a:gd name="T9" fmla="*/ 19 h 20"/>
                  <a:gd name="T10" fmla="*/ 3 w 3"/>
                  <a:gd name="T11" fmla="*/ 19 h 20"/>
                  <a:gd name="T12" fmla="*/ 0 w 3"/>
                  <a:gd name="T13" fmla="*/ 0 h 20"/>
                  <a:gd name="T14" fmla="*/ 3 w 3"/>
                  <a:gd name="T15" fmla="*/ 19 h 20"/>
                  <a:gd name="T16" fmla="*/ 0 w 3"/>
                  <a:gd name="T17" fmla="*/ 0 h 20"/>
                  <a:gd name="T18" fmla="*/ 0 w 3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0">
                    <a:moveTo>
                      <a:pt x="3" y="19"/>
                    </a:move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19"/>
                    </a:cubicBezTo>
                    <a:moveTo>
                      <a:pt x="3" y="19"/>
                    </a:move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moveTo>
                      <a:pt x="0" y="0"/>
                    </a:moveTo>
                    <a:cubicBezTo>
                      <a:pt x="2" y="6"/>
                      <a:pt x="3" y="13"/>
                      <a:pt x="3" y="19"/>
                    </a:cubicBezTo>
                    <a:cubicBezTo>
                      <a:pt x="3" y="13"/>
                      <a:pt x="2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7" name="Freeform 20"/>
              <p:cNvSpPr>
                <a:spLocks/>
              </p:cNvSpPr>
              <p:nvPr/>
            </p:nvSpPr>
            <p:spPr bwMode="auto">
              <a:xfrm>
                <a:off x="4849812" y="1810406"/>
                <a:ext cx="193675" cy="246063"/>
              </a:xfrm>
              <a:custGeom>
                <a:avLst/>
                <a:gdLst>
                  <a:gd name="T0" fmla="*/ 0 w 44"/>
                  <a:gd name="T1" fmla="*/ 0 h 56"/>
                  <a:gd name="T2" fmla="*/ 27 w 44"/>
                  <a:gd name="T3" fmla="*/ 56 h 56"/>
                  <a:gd name="T4" fmla="*/ 27 w 44"/>
                  <a:gd name="T5" fmla="*/ 56 h 56"/>
                  <a:gd name="T6" fmla="*/ 44 w 44"/>
                  <a:gd name="T7" fmla="*/ 56 h 56"/>
                  <a:gd name="T8" fmla="*/ 0 w 44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56">
                    <a:moveTo>
                      <a:pt x="0" y="0"/>
                    </a:moveTo>
                    <a:cubicBezTo>
                      <a:pt x="13" y="16"/>
                      <a:pt x="23" y="35"/>
                      <a:pt x="27" y="56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35" y="34"/>
                      <a:pt x="19" y="15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8" name="Freeform 21"/>
              <p:cNvSpPr>
                <a:spLocks/>
              </p:cNvSpPr>
              <p:nvPr/>
            </p:nvSpPr>
            <p:spPr bwMode="auto">
              <a:xfrm>
                <a:off x="4849812" y="1810406"/>
                <a:ext cx="119063" cy="246063"/>
              </a:xfrm>
              <a:custGeom>
                <a:avLst/>
                <a:gdLst>
                  <a:gd name="T0" fmla="*/ 0 w 27"/>
                  <a:gd name="T1" fmla="*/ 0 h 56"/>
                  <a:gd name="T2" fmla="*/ 27 w 27"/>
                  <a:gd name="T3" fmla="*/ 56 h 56"/>
                  <a:gd name="T4" fmla="*/ 0 w 27"/>
                  <a:gd name="T5" fmla="*/ 0 h 56"/>
                  <a:gd name="T6" fmla="*/ 0 w 27"/>
                  <a:gd name="T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56">
                    <a:moveTo>
                      <a:pt x="0" y="0"/>
                    </a:moveTo>
                    <a:cubicBezTo>
                      <a:pt x="13" y="16"/>
                      <a:pt x="23" y="35"/>
                      <a:pt x="27" y="56"/>
                    </a:cubicBezTo>
                    <a:cubicBezTo>
                      <a:pt x="23" y="35"/>
                      <a:pt x="13" y="1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Freeform 22"/>
              <p:cNvSpPr>
                <a:spLocks/>
              </p:cNvSpPr>
              <p:nvPr/>
            </p:nvSpPr>
            <p:spPr bwMode="auto">
              <a:xfrm>
                <a:off x="1797050" y="1854856"/>
                <a:ext cx="2846388" cy="593725"/>
              </a:xfrm>
              <a:custGeom>
                <a:avLst/>
                <a:gdLst>
                  <a:gd name="T0" fmla="*/ 580 w 647"/>
                  <a:gd name="T1" fmla="*/ 0 h 135"/>
                  <a:gd name="T2" fmla="*/ 300 w 647"/>
                  <a:gd name="T3" fmla="*/ 0 h 135"/>
                  <a:gd name="T4" fmla="*/ 300 w 647"/>
                  <a:gd name="T5" fmla="*/ 60 h 135"/>
                  <a:gd name="T6" fmla="*/ 300 w 647"/>
                  <a:gd name="T7" fmla="*/ 60 h 135"/>
                  <a:gd name="T8" fmla="*/ 252 w 647"/>
                  <a:gd name="T9" fmla="*/ 109 h 135"/>
                  <a:gd name="T10" fmla="*/ 19 w 647"/>
                  <a:gd name="T11" fmla="*/ 109 h 135"/>
                  <a:gd name="T12" fmla="*/ 19 w 647"/>
                  <a:gd name="T13" fmla="*/ 109 h 135"/>
                  <a:gd name="T14" fmla="*/ 19 w 647"/>
                  <a:gd name="T15" fmla="*/ 109 h 135"/>
                  <a:gd name="T16" fmla="*/ 19 w 647"/>
                  <a:gd name="T17" fmla="*/ 109 h 135"/>
                  <a:gd name="T18" fmla="*/ 19 w 647"/>
                  <a:gd name="T19" fmla="*/ 109 h 135"/>
                  <a:gd name="T20" fmla="*/ 19 w 647"/>
                  <a:gd name="T21" fmla="*/ 109 h 135"/>
                  <a:gd name="T22" fmla="*/ 19 w 647"/>
                  <a:gd name="T23" fmla="*/ 109 h 135"/>
                  <a:gd name="T24" fmla="*/ 0 w 647"/>
                  <a:gd name="T25" fmla="*/ 105 h 135"/>
                  <a:gd name="T26" fmla="*/ 45 w 647"/>
                  <a:gd name="T27" fmla="*/ 135 h 135"/>
                  <a:gd name="T28" fmla="*/ 277 w 647"/>
                  <a:gd name="T29" fmla="*/ 135 h 135"/>
                  <a:gd name="T30" fmla="*/ 326 w 647"/>
                  <a:gd name="T31" fmla="*/ 86 h 135"/>
                  <a:gd name="T32" fmla="*/ 326 w 647"/>
                  <a:gd name="T33" fmla="*/ 26 h 135"/>
                  <a:gd name="T34" fmla="*/ 605 w 647"/>
                  <a:gd name="T35" fmla="*/ 26 h 135"/>
                  <a:gd name="T36" fmla="*/ 647 w 647"/>
                  <a:gd name="T37" fmla="*/ 38 h 135"/>
                  <a:gd name="T38" fmla="*/ 584 w 647"/>
                  <a:gd name="T39" fmla="*/ 0 h 135"/>
                  <a:gd name="T40" fmla="*/ 584 w 647"/>
                  <a:gd name="T41" fmla="*/ 0 h 135"/>
                  <a:gd name="T42" fmla="*/ 583 w 647"/>
                  <a:gd name="T43" fmla="*/ 0 h 135"/>
                  <a:gd name="T44" fmla="*/ 583 w 647"/>
                  <a:gd name="T45" fmla="*/ 0 h 135"/>
                  <a:gd name="T46" fmla="*/ 583 w 647"/>
                  <a:gd name="T47" fmla="*/ 0 h 135"/>
                  <a:gd name="T48" fmla="*/ 583 w 647"/>
                  <a:gd name="T49" fmla="*/ 0 h 135"/>
                  <a:gd name="T50" fmla="*/ 583 w 647"/>
                  <a:gd name="T51" fmla="*/ 0 h 135"/>
                  <a:gd name="T52" fmla="*/ 583 w 647"/>
                  <a:gd name="T53" fmla="*/ 0 h 135"/>
                  <a:gd name="T54" fmla="*/ 583 w 647"/>
                  <a:gd name="T55" fmla="*/ 0 h 135"/>
                  <a:gd name="T56" fmla="*/ 583 w 647"/>
                  <a:gd name="T57" fmla="*/ 0 h 135"/>
                  <a:gd name="T58" fmla="*/ 582 w 647"/>
                  <a:gd name="T59" fmla="*/ 0 h 135"/>
                  <a:gd name="T60" fmla="*/ 582 w 647"/>
                  <a:gd name="T61" fmla="*/ 0 h 135"/>
                  <a:gd name="T62" fmla="*/ 582 w 647"/>
                  <a:gd name="T63" fmla="*/ 0 h 135"/>
                  <a:gd name="T64" fmla="*/ 582 w 647"/>
                  <a:gd name="T65" fmla="*/ 0 h 135"/>
                  <a:gd name="T66" fmla="*/ 582 w 647"/>
                  <a:gd name="T67" fmla="*/ 0 h 135"/>
                  <a:gd name="T68" fmla="*/ 582 w 647"/>
                  <a:gd name="T69" fmla="*/ 0 h 135"/>
                  <a:gd name="T70" fmla="*/ 582 w 647"/>
                  <a:gd name="T71" fmla="*/ 0 h 135"/>
                  <a:gd name="T72" fmla="*/ 582 w 647"/>
                  <a:gd name="T73" fmla="*/ 0 h 135"/>
                  <a:gd name="T74" fmla="*/ 582 w 647"/>
                  <a:gd name="T75" fmla="*/ 0 h 135"/>
                  <a:gd name="T76" fmla="*/ 582 w 647"/>
                  <a:gd name="T77" fmla="*/ 0 h 135"/>
                  <a:gd name="T78" fmla="*/ 582 w 647"/>
                  <a:gd name="T79" fmla="*/ 0 h 135"/>
                  <a:gd name="T80" fmla="*/ 582 w 647"/>
                  <a:gd name="T81" fmla="*/ 0 h 135"/>
                  <a:gd name="T82" fmla="*/ 581 w 647"/>
                  <a:gd name="T83" fmla="*/ 0 h 135"/>
                  <a:gd name="T84" fmla="*/ 581 w 647"/>
                  <a:gd name="T85" fmla="*/ 0 h 135"/>
                  <a:gd name="T86" fmla="*/ 581 w 647"/>
                  <a:gd name="T87" fmla="*/ 0 h 135"/>
                  <a:gd name="T88" fmla="*/ 581 w 647"/>
                  <a:gd name="T89" fmla="*/ 0 h 135"/>
                  <a:gd name="T90" fmla="*/ 581 w 647"/>
                  <a:gd name="T91" fmla="*/ 0 h 135"/>
                  <a:gd name="T92" fmla="*/ 581 w 647"/>
                  <a:gd name="T93" fmla="*/ 0 h 135"/>
                  <a:gd name="T94" fmla="*/ 581 w 647"/>
                  <a:gd name="T95" fmla="*/ 0 h 135"/>
                  <a:gd name="T96" fmla="*/ 581 w 647"/>
                  <a:gd name="T97" fmla="*/ 0 h 135"/>
                  <a:gd name="T98" fmla="*/ 581 w 647"/>
                  <a:gd name="T99" fmla="*/ 0 h 135"/>
                  <a:gd name="T100" fmla="*/ 581 w 647"/>
                  <a:gd name="T101" fmla="*/ 0 h 135"/>
                  <a:gd name="T102" fmla="*/ 581 w 647"/>
                  <a:gd name="T103" fmla="*/ 0 h 135"/>
                  <a:gd name="T104" fmla="*/ 580 w 647"/>
                  <a:gd name="T105" fmla="*/ 0 h 135"/>
                  <a:gd name="T106" fmla="*/ 580 w 647"/>
                  <a:gd name="T107" fmla="*/ 0 h 135"/>
                  <a:gd name="T108" fmla="*/ 580 w 647"/>
                  <a:gd name="T109" fmla="*/ 0 h 135"/>
                  <a:gd name="T110" fmla="*/ 580 w 647"/>
                  <a:gd name="T111" fmla="*/ 0 h 135"/>
                  <a:gd name="T112" fmla="*/ 580 w 647"/>
                  <a:gd name="T113" fmla="*/ 0 h 135"/>
                  <a:gd name="T114" fmla="*/ 580 w 647"/>
                  <a:gd name="T115" fmla="*/ 0 h 135"/>
                  <a:gd name="T116" fmla="*/ 580 w 647"/>
                  <a:gd name="T117" fmla="*/ 0 h 135"/>
                  <a:gd name="T118" fmla="*/ 580 w 647"/>
                  <a:gd name="T119" fmla="*/ 0 h 135"/>
                  <a:gd name="T120" fmla="*/ 580 w 647"/>
                  <a:gd name="T121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47" h="135">
                    <a:moveTo>
                      <a:pt x="580" y="0"/>
                    </a:moveTo>
                    <a:cubicBezTo>
                      <a:pt x="300" y="0"/>
                      <a:pt x="300" y="0"/>
                      <a:pt x="300" y="0"/>
                    </a:cubicBezTo>
                    <a:cubicBezTo>
                      <a:pt x="300" y="60"/>
                      <a:pt x="300" y="60"/>
                      <a:pt x="300" y="60"/>
                    </a:cubicBezTo>
                    <a:cubicBezTo>
                      <a:pt x="300" y="60"/>
                      <a:pt x="300" y="60"/>
                      <a:pt x="300" y="60"/>
                    </a:cubicBezTo>
                    <a:cubicBezTo>
                      <a:pt x="300" y="87"/>
                      <a:pt x="279" y="109"/>
                      <a:pt x="252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2" y="109"/>
                      <a:pt x="6" y="108"/>
                      <a:pt x="0" y="105"/>
                    </a:cubicBezTo>
                    <a:cubicBezTo>
                      <a:pt x="8" y="122"/>
                      <a:pt x="25" y="135"/>
                      <a:pt x="45" y="135"/>
                    </a:cubicBezTo>
                    <a:cubicBezTo>
                      <a:pt x="277" y="135"/>
                      <a:pt x="277" y="135"/>
                      <a:pt x="277" y="135"/>
                    </a:cubicBezTo>
                    <a:cubicBezTo>
                      <a:pt x="304" y="135"/>
                      <a:pt x="326" y="113"/>
                      <a:pt x="326" y="86"/>
                    </a:cubicBezTo>
                    <a:cubicBezTo>
                      <a:pt x="326" y="26"/>
                      <a:pt x="326" y="26"/>
                      <a:pt x="326" y="26"/>
                    </a:cubicBezTo>
                    <a:cubicBezTo>
                      <a:pt x="605" y="26"/>
                      <a:pt x="605" y="26"/>
                      <a:pt x="605" y="26"/>
                    </a:cubicBezTo>
                    <a:cubicBezTo>
                      <a:pt x="620" y="26"/>
                      <a:pt x="635" y="30"/>
                      <a:pt x="647" y="38"/>
                    </a:cubicBezTo>
                    <a:cubicBezTo>
                      <a:pt x="633" y="16"/>
                      <a:pt x="610" y="2"/>
                      <a:pt x="584" y="0"/>
                    </a:cubicBezTo>
                    <a:cubicBezTo>
                      <a:pt x="584" y="0"/>
                      <a:pt x="584" y="0"/>
                      <a:pt x="584" y="0"/>
                    </a:cubicBezTo>
                    <a:cubicBezTo>
                      <a:pt x="584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0" name="Freeform 23"/>
              <p:cNvSpPr>
                <a:spLocks noEditPoints="1"/>
              </p:cNvSpPr>
              <p:nvPr/>
            </p:nvSpPr>
            <p:spPr bwMode="auto">
              <a:xfrm>
                <a:off x="1797050" y="1854856"/>
                <a:ext cx="2568575" cy="479425"/>
              </a:xfrm>
              <a:custGeom>
                <a:avLst/>
                <a:gdLst>
                  <a:gd name="T0" fmla="*/ 19 w 584"/>
                  <a:gd name="T1" fmla="*/ 109 h 109"/>
                  <a:gd name="T2" fmla="*/ 19 w 584"/>
                  <a:gd name="T3" fmla="*/ 109 h 109"/>
                  <a:gd name="T4" fmla="*/ 19 w 584"/>
                  <a:gd name="T5" fmla="*/ 109 h 109"/>
                  <a:gd name="T6" fmla="*/ 0 w 584"/>
                  <a:gd name="T7" fmla="*/ 105 h 109"/>
                  <a:gd name="T8" fmla="*/ 0 w 584"/>
                  <a:gd name="T9" fmla="*/ 105 h 109"/>
                  <a:gd name="T10" fmla="*/ 252 w 584"/>
                  <a:gd name="T11" fmla="*/ 109 h 109"/>
                  <a:gd name="T12" fmla="*/ 19 w 584"/>
                  <a:gd name="T13" fmla="*/ 109 h 109"/>
                  <a:gd name="T14" fmla="*/ 252 w 584"/>
                  <a:gd name="T15" fmla="*/ 109 h 109"/>
                  <a:gd name="T16" fmla="*/ 300 w 584"/>
                  <a:gd name="T17" fmla="*/ 60 h 109"/>
                  <a:gd name="T18" fmla="*/ 584 w 584"/>
                  <a:gd name="T19" fmla="*/ 0 h 109"/>
                  <a:gd name="T20" fmla="*/ 583 w 584"/>
                  <a:gd name="T21" fmla="*/ 0 h 109"/>
                  <a:gd name="T22" fmla="*/ 583 w 584"/>
                  <a:gd name="T23" fmla="*/ 0 h 109"/>
                  <a:gd name="T24" fmla="*/ 583 w 584"/>
                  <a:gd name="T25" fmla="*/ 0 h 109"/>
                  <a:gd name="T26" fmla="*/ 583 w 584"/>
                  <a:gd name="T27" fmla="*/ 0 h 109"/>
                  <a:gd name="T28" fmla="*/ 583 w 584"/>
                  <a:gd name="T29" fmla="*/ 0 h 109"/>
                  <a:gd name="T30" fmla="*/ 583 w 584"/>
                  <a:gd name="T31" fmla="*/ 0 h 109"/>
                  <a:gd name="T32" fmla="*/ 582 w 584"/>
                  <a:gd name="T33" fmla="*/ 0 h 109"/>
                  <a:gd name="T34" fmla="*/ 582 w 584"/>
                  <a:gd name="T35" fmla="*/ 0 h 109"/>
                  <a:gd name="T36" fmla="*/ 582 w 584"/>
                  <a:gd name="T37" fmla="*/ 0 h 109"/>
                  <a:gd name="T38" fmla="*/ 582 w 584"/>
                  <a:gd name="T39" fmla="*/ 0 h 109"/>
                  <a:gd name="T40" fmla="*/ 582 w 584"/>
                  <a:gd name="T41" fmla="*/ 0 h 109"/>
                  <a:gd name="T42" fmla="*/ 582 w 584"/>
                  <a:gd name="T43" fmla="*/ 0 h 109"/>
                  <a:gd name="T44" fmla="*/ 582 w 584"/>
                  <a:gd name="T45" fmla="*/ 0 h 109"/>
                  <a:gd name="T46" fmla="*/ 582 w 584"/>
                  <a:gd name="T47" fmla="*/ 0 h 109"/>
                  <a:gd name="T48" fmla="*/ 582 w 584"/>
                  <a:gd name="T49" fmla="*/ 0 h 109"/>
                  <a:gd name="T50" fmla="*/ 581 w 584"/>
                  <a:gd name="T51" fmla="*/ 0 h 109"/>
                  <a:gd name="T52" fmla="*/ 581 w 584"/>
                  <a:gd name="T53" fmla="*/ 0 h 109"/>
                  <a:gd name="T54" fmla="*/ 581 w 584"/>
                  <a:gd name="T55" fmla="*/ 0 h 109"/>
                  <a:gd name="T56" fmla="*/ 581 w 584"/>
                  <a:gd name="T57" fmla="*/ 0 h 109"/>
                  <a:gd name="T58" fmla="*/ 581 w 584"/>
                  <a:gd name="T59" fmla="*/ 0 h 109"/>
                  <a:gd name="T60" fmla="*/ 581 w 584"/>
                  <a:gd name="T61" fmla="*/ 0 h 109"/>
                  <a:gd name="T62" fmla="*/ 581 w 584"/>
                  <a:gd name="T63" fmla="*/ 0 h 109"/>
                  <a:gd name="T64" fmla="*/ 581 w 584"/>
                  <a:gd name="T65" fmla="*/ 0 h 109"/>
                  <a:gd name="T66" fmla="*/ 581 w 584"/>
                  <a:gd name="T67" fmla="*/ 0 h 109"/>
                  <a:gd name="T68" fmla="*/ 580 w 584"/>
                  <a:gd name="T69" fmla="*/ 0 h 109"/>
                  <a:gd name="T70" fmla="*/ 580 w 584"/>
                  <a:gd name="T71" fmla="*/ 0 h 109"/>
                  <a:gd name="T72" fmla="*/ 580 w 584"/>
                  <a:gd name="T73" fmla="*/ 0 h 109"/>
                  <a:gd name="T74" fmla="*/ 580 w 584"/>
                  <a:gd name="T75" fmla="*/ 0 h 109"/>
                  <a:gd name="T76" fmla="*/ 580 w 584"/>
                  <a:gd name="T77" fmla="*/ 0 h 109"/>
                  <a:gd name="T78" fmla="*/ 300 w 584"/>
                  <a:gd name="T79" fmla="*/ 0 h 109"/>
                  <a:gd name="T80" fmla="*/ 580 w 584"/>
                  <a:gd name="T8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4" h="109">
                    <a:moveTo>
                      <a:pt x="19" y="109"/>
                    </a:move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moveTo>
                      <a:pt x="19" y="109"/>
                    </a:move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moveTo>
                      <a:pt x="0" y="105"/>
                    </a:moveTo>
                    <a:cubicBezTo>
                      <a:pt x="0" y="105"/>
                      <a:pt x="0" y="105"/>
                      <a:pt x="0" y="105"/>
                    </a:cubicBezTo>
                    <a:cubicBezTo>
                      <a:pt x="6" y="108"/>
                      <a:pt x="12" y="109"/>
                      <a:pt x="19" y="109"/>
                    </a:cubicBezTo>
                    <a:cubicBezTo>
                      <a:pt x="12" y="109"/>
                      <a:pt x="6" y="108"/>
                      <a:pt x="0" y="105"/>
                    </a:cubicBezTo>
                    <a:moveTo>
                      <a:pt x="300" y="60"/>
                    </a:moveTo>
                    <a:cubicBezTo>
                      <a:pt x="300" y="87"/>
                      <a:pt x="279" y="109"/>
                      <a:pt x="252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79" y="109"/>
                      <a:pt x="300" y="87"/>
                      <a:pt x="300" y="60"/>
                    </a:cubicBezTo>
                    <a:cubicBezTo>
                      <a:pt x="300" y="60"/>
                      <a:pt x="300" y="60"/>
                      <a:pt x="300" y="60"/>
                    </a:cubicBezTo>
                    <a:moveTo>
                      <a:pt x="584" y="0"/>
                    </a:moveTo>
                    <a:cubicBezTo>
                      <a:pt x="584" y="0"/>
                      <a:pt x="584" y="0"/>
                      <a:pt x="584" y="0"/>
                    </a:cubicBezTo>
                    <a:cubicBezTo>
                      <a:pt x="584" y="0"/>
                      <a:pt x="584" y="0"/>
                      <a:pt x="584" y="0"/>
                    </a:cubicBezTo>
                    <a:moveTo>
                      <a:pt x="583" y="0"/>
                    </a:move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moveTo>
                      <a:pt x="583" y="0"/>
                    </a:move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moveTo>
                      <a:pt x="583" y="0"/>
                    </a:move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moveTo>
                      <a:pt x="583" y="0"/>
                    </a:moveTo>
                    <a:cubicBezTo>
                      <a:pt x="583" y="0"/>
                      <a:pt x="583" y="0"/>
                      <a:pt x="583" y="0"/>
                    </a:cubicBezTo>
                    <a:cubicBezTo>
                      <a:pt x="583" y="0"/>
                      <a:pt x="583" y="0"/>
                      <a:pt x="583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2" y="0"/>
                    </a:moveTo>
                    <a:cubicBezTo>
                      <a:pt x="582" y="0"/>
                      <a:pt x="582" y="0"/>
                      <a:pt x="582" y="0"/>
                    </a:cubicBezTo>
                    <a:cubicBezTo>
                      <a:pt x="582" y="0"/>
                      <a:pt x="582" y="0"/>
                      <a:pt x="582" y="0"/>
                    </a:cubicBezTo>
                    <a:moveTo>
                      <a:pt x="581" y="0"/>
                    </a:move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moveTo>
                      <a:pt x="581" y="0"/>
                    </a:move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moveTo>
                      <a:pt x="581" y="0"/>
                    </a:move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moveTo>
                      <a:pt x="581" y="0"/>
                    </a:move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moveTo>
                      <a:pt x="581" y="0"/>
                    </a:moveTo>
                    <a:cubicBezTo>
                      <a:pt x="581" y="0"/>
                      <a:pt x="581" y="0"/>
                      <a:pt x="581" y="0"/>
                    </a:cubicBezTo>
                    <a:cubicBezTo>
                      <a:pt x="581" y="0"/>
                      <a:pt x="581" y="0"/>
                      <a:pt x="581" y="0"/>
                    </a:cubicBezTo>
                    <a:moveTo>
                      <a:pt x="580" y="0"/>
                    </a:moveTo>
                    <a:cubicBezTo>
                      <a:pt x="580" y="0"/>
                      <a:pt x="580" y="0"/>
                      <a:pt x="581" y="0"/>
                    </a:cubicBezTo>
                    <a:cubicBezTo>
                      <a:pt x="580" y="0"/>
                      <a:pt x="580" y="0"/>
                      <a:pt x="580" y="0"/>
                    </a:cubicBezTo>
                    <a:moveTo>
                      <a:pt x="580" y="0"/>
                    </a:move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moveTo>
                      <a:pt x="580" y="0"/>
                    </a:move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moveTo>
                      <a:pt x="580" y="0"/>
                    </a:move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moveTo>
                      <a:pt x="580" y="0"/>
                    </a:moveTo>
                    <a:cubicBezTo>
                      <a:pt x="300" y="0"/>
                      <a:pt x="300" y="0"/>
                      <a:pt x="30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  <a:cubicBezTo>
                      <a:pt x="580" y="0"/>
                      <a:pt x="580" y="0"/>
                      <a:pt x="58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1" name="Freeform 24"/>
              <p:cNvSpPr>
                <a:spLocks/>
              </p:cNvSpPr>
              <p:nvPr/>
            </p:nvSpPr>
            <p:spPr bwMode="auto">
              <a:xfrm>
                <a:off x="860425" y="1854856"/>
                <a:ext cx="809625" cy="228600"/>
              </a:xfrm>
              <a:custGeom>
                <a:avLst/>
                <a:gdLst>
                  <a:gd name="T0" fmla="*/ 184 w 184"/>
                  <a:gd name="T1" fmla="*/ 0 h 52"/>
                  <a:gd name="T2" fmla="*/ 72 w 184"/>
                  <a:gd name="T3" fmla="*/ 0 h 52"/>
                  <a:gd name="T4" fmla="*/ 25 w 184"/>
                  <a:gd name="T5" fmla="*/ 26 h 52"/>
                  <a:gd name="T6" fmla="*/ 25 w 184"/>
                  <a:gd name="T7" fmla="*/ 26 h 52"/>
                  <a:gd name="T8" fmla="*/ 24 w 184"/>
                  <a:gd name="T9" fmla="*/ 26 h 52"/>
                  <a:gd name="T10" fmla="*/ 24 w 184"/>
                  <a:gd name="T11" fmla="*/ 26 h 52"/>
                  <a:gd name="T12" fmla="*/ 24 w 184"/>
                  <a:gd name="T13" fmla="*/ 26 h 52"/>
                  <a:gd name="T14" fmla="*/ 24 w 184"/>
                  <a:gd name="T15" fmla="*/ 26 h 52"/>
                  <a:gd name="T16" fmla="*/ 24 w 184"/>
                  <a:gd name="T17" fmla="*/ 26 h 52"/>
                  <a:gd name="T18" fmla="*/ 24 w 184"/>
                  <a:gd name="T19" fmla="*/ 26 h 52"/>
                  <a:gd name="T20" fmla="*/ 24 w 184"/>
                  <a:gd name="T21" fmla="*/ 26 h 52"/>
                  <a:gd name="T22" fmla="*/ 24 w 184"/>
                  <a:gd name="T23" fmla="*/ 26 h 52"/>
                  <a:gd name="T24" fmla="*/ 24 w 184"/>
                  <a:gd name="T25" fmla="*/ 26 h 52"/>
                  <a:gd name="T26" fmla="*/ 24 w 184"/>
                  <a:gd name="T27" fmla="*/ 26 h 52"/>
                  <a:gd name="T28" fmla="*/ 24 w 184"/>
                  <a:gd name="T29" fmla="*/ 26 h 52"/>
                  <a:gd name="T30" fmla="*/ 23 w 184"/>
                  <a:gd name="T31" fmla="*/ 26 h 52"/>
                  <a:gd name="T32" fmla="*/ 23 w 184"/>
                  <a:gd name="T33" fmla="*/ 26 h 52"/>
                  <a:gd name="T34" fmla="*/ 0 w 184"/>
                  <a:gd name="T35" fmla="*/ 20 h 52"/>
                  <a:gd name="T36" fmla="*/ 50 w 184"/>
                  <a:gd name="T37" fmla="*/ 52 h 52"/>
                  <a:gd name="T38" fmla="*/ 98 w 184"/>
                  <a:gd name="T39" fmla="*/ 26 h 52"/>
                  <a:gd name="T40" fmla="*/ 184 w 184"/>
                  <a:gd name="T41" fmla="*/ 26 h 52"/>
                  <a:gd name="T42" fmla="*/ 184 w 184"/>
                  <a:gd name="T43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4" h="52">
                    <a:moveTo>
                      <a:pt x="184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62" y="16"/>
                      <a:pt x="45" y="26"/>
                      <a:pt x="25" y="26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26"/>
                      <a:pt x="25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15" y="26"/>
                      <a:pt x="7" y="24"/>
                      <a:pt x="0" y="20"/>
                    </a:cubicBezTo>
                    <a:cubicBezTo>
                      <a:pt x="9" y="39"/>
                      <a:pt x="28" y="52"/>
                      <a:pt x="50" y="52"/>
                    </a:cubicBezTo>
                    <a:cubicBezTo>
                      <a:pt x="70" y="52"/>
                      <a:pt x="88" y="41"/>
                      <a:pt x="98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84" y="0"/>
                      <a:pt x="184" y="0"/>
                      <a:pt x="184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Freeform 25"/>
              <p:cNvSpPr>
                <a:spLocks noEditPoints="1"/>
              </p:cNvSpPr>
              <p:nvPr/>
            </p:nvSpPr>
            <p:spPr bwMode="auto">
              <a:xfrm>
                <a:off x="860425" y="1854856"/>
                <a:ext cx="809625" cy="114300"/>
              </a:xfrm>
              <a:custGeom>
                <a:avLst/>
                <a:gdLst>
                  <a:gd name="T0" fmla="*/ 24 w 184"/>
                  <a:gd name="T1" fmla="*/ 26 h 26"/>
                  <a:gd name="T2" fmla="*/ 24 w 184"/>
                  <a:gd name="T3" fmla="*/ 26 h 26"/>
                  <a:gd name="T4" fmla="*/ 24 w 184"/>
                  <a:gd name="T5" fmla="*/ 26 h 26"/>
                  <a:gd name="T6" fmla="*/ 24 w 184"/>
                  <a:gd name="T7" fmla="*/ 26 h 26"/>
                  <a:gd name="T8" fmla="*/ 24 w 184"/>
                  <a:gd name="T9" fmla="*/ 26 h 26"/>
                  <a:gd name="T10" fmla="*/ 24 w 184"/>
                  <a:gd name="T11" fmla="*/ 26 h 26"/>
                  <a:gd name="T12" fmla="*/ 24 w 184"/>
                  <a:gd name="T13" fmla="*/ 26 h 26"/>
                  <a:gd name="T14" fmla="*/ 24 w 184"/>
                  <a:gd name="T15" fmla="*/ 26 h 26"/>
                  <a:gd name="T16" fmla="*/ 24 w 184"/>
                  <a:gd name="T17" fmla="*/ 26 h 26"/>
                  <a:gd name="T18" fmla="*/ 24 w 184"/>
                  <a:gd name="T19" fmla="*/ 26 h 26"/>
                  <a:gd name="T20" fmla="*/ 24 w 184"/>
                  <a:gd name="T21" fmla="*/ 26 h 26"/>
                  <a:gd name="T22" fmla="*/ 24 w 184"/>
                  <a:gd name="T23" fmla="*/ 26 h 26"/>
                  <a:gd name="T24" fmla="*/ 24 w 184"/>
                  <a:gd name="T25" fmla="*/ 26 h 26"/>
                  <a:gd name="T26" fmla="*/ 24 w 184"/>
                  <a:gd name="T27" fmla="*/ 26 h 26"/>
                  <a:gd name="T28" fmla="*/ 24 w 184"/>
                  <a:gd name="T29" fmla="*/ 26 h 26"/>
                  <a:gd name="T30" fmla="*/ 23 w 184"/>
                  <a:gd name="T31" fmla="*/ 26 h 26"/>
                  <a:gd name="T32" fmla="*/ 24 w 184"/>
                  <a:gd name="T33" fmla="*/ 26 h 26"/>
                  <a:gd name="T34" fmla="*/ 23 w 184"/>
                  <a:gd name="T35" fmla="*/ 26 h 26"/>
                  <a:gd name="T36" fmla="*/ 0 w 184"/>
                  <a:gd name="T37" fmla="*/ 20 h 26"/>
                  <a:gd name="T38" fmla="*/ 0 w 184"/>
                  <a:gd name="T39" fmla="*/ 20 h 26"/>
                  <a:gd name="T40" fmla="*/ 23 w 184"/>
                  <a:gd name="T41" fmla="*/ 26 h 26"/>
                  <a:gd name="T42" fmla="*/ 0 w 184"/>
                  <a:gd name="T43" fmla="*/ 20 h 26"/>
                  <a:gd name="T44" fmla="*/ 184 w 184"/>
                  <a:gd name="T45" fmla="*/ 0 h 26"/>
                  <a:gd name="T46" fmla="*/ 72 w 184"/>
                  <a:gd name="T47" fmla="*/ 0 h 26"/>
                  <a:gd name="T48" fmla="*/ 25 w 184"/>
                  <a:gd name="T49" fmla="*/ 26 h 26"/>
                  <a:gd name="T50" fmla="*/ 25 w 184"/>
                  <a:gd name="T51" fmla="*/ 26 h 26"/>
                  <a:gd name="T52" fmla="*/ 25 w 184"/>
                  <a:gd name="T53" fmla="*/ 26 h 26"/>
                  <a:gd name="T54" fmla="*/ 72 w 184"/>
                  <a:gd name="T55" fmla="*/ 0 h 26"/>
                  <a:gd name="T56" fmla="*/ 184 w 184"/>
                  <a:gd name="T57" fmla="*/ 0 h 26"/>
                  <a:gd name="T58" fmla="*/ 184 w 184"/>
                  <a:gd name="T59" fmla="*/ 26 h 26"/>
                  <a:gd name="T60" fmla="*/ 184 w 184"/>
                  <a:gd name="T6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4" h="26">
                    <a:moveTo>
                      <a:pt x="24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moveTo>
                      <a:pt x="24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moveTo>
                      <a:pt x="24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moveTo>
                      <a:pt x="24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moveTo>
                      <a:pt x="24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moveTo>
                      <a:pt x="23" y="26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6"/>
                      <a:pt x="24" y="26"/>
                      <a:pt x="23" y="26"/>
                    </a:cubicBezTo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7" y="24"/>
                      <a:pt x="15" y="26"/>
                      <a:pt x="23" y="26"/>
                    </a:cubicBezTo>
                    <a:cubicBezTo>
                      <a:pt x="15" y="26"/>
                      <a:pt x="7" y="24"/>
                      <a:pt x="0" y="20"/>
                    </a:cubicBezTo>
                    <a:moveTo>
                      <a:pt x="184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62" y="16"/>
                      <a:pt x="45" y="26"/>
                      <a:pt x="25" y="26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45" y="26"/>
                      <a:pt x="62" y="16"/>
                      <a:pt x="72" y="0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84" y="0"/>
                      <a:pt x="184" y="0"/>
                      <a:pt x="184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Freeform 26"/>
              <p:cNvSpPr>
                <a:spLocks/>
              </p:cNvSpPr>
              <p:nvPr/>
            </p:nvSpPr>
            <p:spPr bwMode="auto">
              <a:xfrm>
                <a:off x="2338387" y="2188231"/>
                <a:ext cx="3338513" cy="2230438"/>
              </a:xfrm>
              <a:custGeom>
                <a:avLst/>
                <a:gdLst>
                  <a:gd name="T0" fmla="*/ 730 w 759"/>
                  <a:gd name="T1" fmla="*/ 0 h 507"/>
                  <a:gd name="T2" fmla="*/ 734 w 759"/>
                  <a:gd name="T3" fmla="*/ 18 h 507"/>
                  <a:gd name="T4" fmla="*/ 734 w 759"/>
                  <a:gd name="T5" fmla="*/ 18 h 507"/>
                  <a:gd name="T6" fmla="*/ 734 w 759"/>
                  <a:gd name="T7" fmla="*/ 18 h 507"/>
                  <a:gd name="T8" fmla="*/ 734 w 759"/>
                  <a:gd name="T9" fmla="*/ 19 h 507"/>
                  <a:gd name="T10" fmla="*/ 734 w 759"/>
                  <a:gd name="T11" fmla="*/ 19 h 507"/>
                  <a:gd name="T12" fmla="*/ 734 w 759"/>
                  <a:gd name="T13" fmla="*/ 19 h 507"/>
                  <a:gd name="T14" fmla="*/ 734 w 759"/>
                  <a:gd name="T15" fmla="*/ 19 h 507"/>
                  <a:gd name="T16" fmla="*/ 734 w 759"/>
                  <a:gd name="T17" fmla="*/ 19 h 507"/>
                  <a:gd name="T18" fmla="*/ 734 w 759"/>
                  <a:gd name="T19" fmla="*/ 19 h 507"/>
                  <a:gd name="T20" fmla="*/ 734 w 759"/>
                  <a:gd name="T21" fmla="*/ 19 h 507"/>
                  <a:gd name="T22" fmla="*/ 734 w 759"/>
                  <a:gd name="T23" fmla="*/ 206 h 507"/>
                  <a:gd name="T24" fmla="*/ 734 w 759"/>
                  <a:gd name="T25" fmla="*/ 206 h 507"/>
                  <a:gd name="T26" fmla="*/ 685 w 759"/>
                  <a:gd name="T27" fmla="*/ 254 h 507"/>
                  <a:gd name="T28" fmla="*/ 600 w 759"/>
                  <a:gd name="T29" fmla="*/ 254 h 507"/>
                  <a:gd name="T30" fmla="*/ 457 w 759"/>
                  <a:gd name="T31" fmla="*/ 373 h 507"/>
                  <a:gd name="T32" fmla="*/ 300 w 759"/>
                  <a:gd name="T33" fmla="*/ 373 h 507"/>
                  <a:gd name="T34" fmla="*/ 300 w 759"/>
                  <a:gd name="T35" fmla="*/ 433 h 507"/>
                  <a:gd name="T36" fmla="*/ 300 w 759"/>
                  <a:gd name="T37" fmla="*/ 433 h 507"/>
                  <a:gd name="T38" fmla="*/ 252 w 759"/>
                  <a:gd name="T39" fmla="*/ 481 h 507"/>
                  <a:gd name="T40" fmla="*/ 19 w 759"/>
                  <a:gd name="T41" fmla="*/ 481 h 507"/>
                  <a:gd name="T42" fmla="*/ 19 w 759"/>
                  <a:gd name="T43" fmla="*/ 481 h 507"/>
                  <a:gd name="T44" fmla="*/ 19 w 759"/>
                  <a:gd name="T45" fmla="*/ 481 h 507"/>
                  <a:gd name="T46" fmla="*/ 19 w 759"/>
                  <a:gd name="T47" fmla="*/ 481 h 507"/>
                  <a:gd name="T48" fmla="*/ 19 w 759"/>
                  <a:gd name="T49" fmla="*/ 481 h 507"/>
                  <a:gd name="T50" fmla="*/ 19 w 759"/>
                  <a:gd name="T51" fmla="*/ 481 h 507"/>
                  <a:gd name="T52" fmla="*/ 19 w 759"/>
                  <a:gd name="T53" fmla="*/ 481 h 507"/>
                  <a:gd name="T54" fmla="*/ 19 w 759"/>
                  <a:gd name="T55" fmla="*/ 481 h 507"/>
                  <a:gd name="T56" fmla="*/ 18 w 759"/>
                  <a:gd name="T57" fmla="*/ 481 h 507"/>
                  <a:gd name="T58" fmla="*/ 18 w 759"/>
                  <a:gd name="T59" fmla="*/ 481 h 507"/>
                  <a:gd name="T60" fmla="*/ 18 w 759"/>
                  <a:gd name="T61" fmla="*/ 481 h 507"/>
                  <a:gd name="T62" fmla="*/ 18 w 759"/>
                  <a:gd name="T63" fmla="*/ 481 h 507"/>
                  <a:gd name="T64" fmla="*/ 18 w 759"/>
                  <a:gd name="T65" fmla="*/ 481 h 507"/>
                  <a:gd name="T66" fmla="*/ 18 w 759"/>
                  <a:gd name="T67" fmla="*/ 481 h 507"/>
                  <a:gd name="T68" fmla="*/ 18 w 759"/>
                  <a:gd name="T69" fmla="*/ 481 h 507"/>
                  <a:gd name="T70" fmla="*/ 0 w 759"/>
                  <a:gd name="T71" fmla="*/ 477 h 507"/>
                  <a:gd name="T72" fmla="*/ 45 w 759"/>
                  <a:gd name="T73" fmla="*/ 507 h 507"/>
                  <a:gd name="T74" fmla="*/ 277 w 759"/>
                  <a:gd name="T75" fmla="*/ 507 h 507"/>
                  <a:gd name="T76" fmla="*/ 326 w 759"/>
                  <a:gd name="T77" fmla="*/ 458 h 507"/>
                  <a:gd name="T78" fmla="*/ 326 w 759"/>
                  <a:gd name="T79" fmla="*/ 398 h 507"/>
                  <a:gd name="T80" fmla="*/ 482 w 759"/>
                  <a:gd name="T81" fmla="*/ 398 h 507"/>
                  <a:gd name="T82" fmla="*/ 625 w 759"/>
                  <a:gd name="T83" fmla="*/ 280 h 507"/>
                  <a:gd name="T84" fmla="*/ 710 w 759"/>
                  <a:gd name="T85" fmla="*/ 280 h 507"/>
                  <a:gd name="T86" fmla="*/ 759 w 759"/>
                  <a:gd name="T87" fmla="*/ 231 h 507"/>
                  <a:gd name="T88" fmla="*/ 759 w 759"/>
                  <a:gd name="T89" fmla="*/ 45 h 507"/>
                  <a:gd name="T90" fmla="*/ 745 w 759"/>
                  <a:gd name="T91" fmla="*/ 10 h 507"/>
                  <a:gd name="T92" fmla="*/ 730 w 759"/>
                  <a:gd name="T93" fmla="*/ 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59" h="507">
                    <a:moveTo>
                      <a:pt x="730" y="0"/>
                    </a:moveTo>
                    <a:cubicBezTo>
                      <a:pt x="732" y="6"/>
                      <a:pt x="733" y="12"/>
                      <a:pt x="734" y="18"/>
                    </a:cubicBezTo>
                    <a:cubicBezTo>
                      <a:pt x="734" y="18"/>
                      <a:pt x="734" y="18"/>
                      <a:pt x="734" y="18"/>
                    </a:cubicBezTo>
                    <a:cubicBezTo>
                      <a:pt x="734" y="18"/>
                      <a:pt x="734" y="18"/>
                      <a:pt x="734" y="18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206"/>
                      <a:pt x="734" y="206"/>
                      <a:pt x="734" y="206"/>
                    </a:cubicBezTo>
                    <a:cubicBezTo>
                      <a:pt x="734" y="206"/>
                      <a:pt x="734" y="206"/>
                      <a:pt x="734" y="206"/>
                    </a:cubicBezTo>
                    <a:cubicBezTo>
                      <a:pt x="734" y="233"/>
                      <a:pt x="712" y="254"/>
                      <a:pt x="685" y="254"/>
                    </a:cubicBezTo>
                    <a:cubicBezTo>
                      <a:pt x="600" y="254"/>
                      <a:pt x="600" y="254"/>
                      <a:pt x="600" y="254"/>
                    </a:cubicBezTo>
                    <a:cubicBezTo>
                      <a:pt x="587" y="322"/>
                      <a:pt x="528" y="373"/>
                      <a:pt x="457" y="373"/>
                    </a:cubicBezTo>
                    <a:cubicBezTo>
                      <a:pt x="300" y="373"/>
                      <a:pt x="300" y="373"/>
                      <a:pt x="300" y="373"/>
                    </a:cubicBezTo>
                    <a:cubicBezTo>
                      <a:pt x="300" y="433"/>
                      <a:pt x="300" y="433"/>
                      <a:pt x="300" y="433"/>
                    </a:cubicBezTo>
                    <a:cubicBezTo>
                      <a:pt x="300" y="433"/>
                      <a:pt x="300" y="433"/>
                      <a:pt x="300" y="433"/>
                    </a:cubicBezTo>
                    <a:cubicBezTo>
                      <a:pt x="300" y="460"/>
                      <a:pt x="278" y="481"/>
                      <a:pt x="252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2" y="481"/>
                      <a:pt x="6" y="480"/>
                      <a:pt x="0" y="477"/>
                    </a:cubicBezTo>
                    <a:cubicBezTo>
                      <a:pt x="7" y="495"/>
                      <a:pt x="25" y="507"/>
                      <a:pt x="45" y="507"/>
                    </a:cubicBezTo>
                    <a:cubicBezTo>
                      <a:pt x="277" y="507"/>
                      <a:pt x="277" y="507"/>
                      <a:pt x="277" y="507"/>
                    </a:cubicBezTo>
                    <a:cubicBezTo>
                      <a:pt x="304" y="507"/>
                      <a:pt x="326" y="485"/>
                      <a:pt x="326" y="458"/>
                    </a:cubicBezTo>
                    <a:cubicBezTo>
                      <a:pt x="326" y="398"/>
                      <a:pt x="326" y="398"/>
                      <a:pt x="326" y="398"/>
                    </a:cubicBezTo>
                    <a:cubicBezTo>
                      <a:pt x="482" y="398"/>
                      <a:pt x="482" y="398"/>
                      <a:pt x="482" y="398"/>
                    </a:cubicBezTo>
                    <a:cubicBezTo>
                      <a:pt x="553" y="398"/>
                      <a:pt x="612" y="347"/>
                      <a:pt x="625" y="280"/>
                    </a:cubicBezTo>
                    <a:cubicBezTo>
                      <a:pt x="710" y="280"/>
                      <a:pt x="710" y="280"/>
                      <a:pt x="710" y="280"/>
                    </a:cubicBezTo>
                    <a:cubicBezTo>
                      <a:pt x="737" y="280"/>
                      <a:pt x="759" y="258"/>
                      <a:pt x="759" y="231"/>
                    </a:cubicBezTo>
                    <a:cubicBezTo>
                      <a:pt x="759" y="45"/>
                      <a:pt x="759" y="45"/>
                      <a:pt x="759" y="45"/>
                    </a:cubicBezTo>
                    <a:cubicBezTo>
                      <a:pt x="759" y="32"/>
                      <a:pt x="754" y="19"/>
                      <a:pt x="745" y="10"/>
                    </a:cubicBezTo>
                    <a:cubicBezTo>
                      <a:pt x="740" y="6"/>
                      <a:pt x="735" y="2"/>
                      <a:pt x="73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4" name="Freeform 27"/>
              <p:cNvSpPr>
                <a:spLocks noEditPoints="1"/>
              </p:cNvSpPr>
              <p:nvPr/>
            </p:nvSpPr>
            <p:spPr bwMode="auto">
              <a:xfrm>
                <a:off x="2338387" y="2188231"/>
                <a:ext cx="3228975" cy="2116138"/>
              </a:xfrm>
              <a:custGeom>
                <a:avLst/>
                <a:gdLst>
                  <a:gd name="T0" fmla="*/ 19 w 734"/>
                  <a:gd name="T1" fmla="*/ 481 h 481"/>
                  <a:gd name="T2" fmla="*/ 19 w 734"/>
                  <a:gd name="T3" fmla="*/ 481 h 481"/>
                  <a:gd name="T4" fmla="*/ 19 w 734"/>
                  <a:gd name="T5" fmla="*/ 481 h 481"/>
                  <a:gd name="T6" fmla="*/ 19 w 734"/>
                  <a:gd name="T7" fmla="*/ 481 h 481"/>
                  <a:gd name="T8" fmla="*/ 19 w 734"/>
                  <a:gd name="T9" fmla="*/ 481 h 481"/>
                  <a:gd name="T10" fmla="*/ 19 w 734"/>
                  <a:gd name="T11" fmla="*/ 481 h 481"/>
                  <a:gd name="T12" fmla="*/ 19 w 734"/>
                  <a:gd name="T13" fmla="*/ 481 h 481"/>
                  <a:gd name="T14" fmla="*/ 19 w 734"/>
                  <a:gd name="T15" fmla="*/ 481 h 481"/>
                  <a:gd name="T16" fmla="*/ 19 w 734"/>
                  <a:gd name="T17" fmla="*/ 481 h 481"/>
                  <a:gd name="T18" fmla="*/ 18 w 734"/>
                  <a:gd name="T19" fmla="*/ 481 h 481"/>
                  <a:gd name="T20" fmla="*/ 18 w 734"/>
                  <a:gd name="T21" fmla="*/ 481 h 481"/>
                  <a:gd name="T22" fmla="*/ 18 w 734"/>
                  <a:gd name="T23" fmla="*/ 481 h 481"/>
                  <a:gd name="T24" fmla="*/ 18 w 734"/>
                  <a:gd name="T25" fmla="*/ 481 h 481"/>
                  <a:gd name="T26" fmla="*/ 18 w 734"/>
                  <a:gd name="T27" fmla="*/ 481 h 481"/>
                  <a:gd name="T28" fmla="*/ 18 w 734"/>
                  <a:gd name="T29" fmla="*/ 481 h 481"/>
                  <a:gd name="T30" fmla="*/ 18 w 734"/>
                  <a:gd name="T31" fmla="*/ 481 h 481"/>
                  <a:gd name="T32" fmla="*/ 18 w 734"/>
                  <a:gd name="T33" fmla="*/ 481 h 481"/>
                  <a:gd name="T34" fmla="*/ 18 w 734"/>
                  <a:gd name="T35" fmla="*/ 481 h 481"/>
                  <a:gd name="T36" fmla="*/ 0 w 734"/>
                  <a:gd name="T37" fmla="*/ 477 h 481"/>
                  <a:gd name="T38" fmla="*/ 0 w 734"/>
                  <a:gd name="T39" fmla="*/ 477 h 481"/>
                  <a:gd name="T40" fmla="*/ 18 w 734"/>
                  <a:gd name="T41" fmla="*/ 481 h 481"/>
                  <a:gd name="T42" fmla="*/ 0 w 734"/>
                  <a:gd name="T43" fmla="*/ 477 h 481"/>
                  <a:gd name="T44" fmla="*/ 300 w 734"/>
                  <a:gd name="T45" fmla="*/ 433 h 481"/>
                  <a:gd name="T46" fmla="*/ 252 w 734"/>
                  <a:gd name="T47" fmla="*/ 481 h 481"/>
                  <a:gd name="T48" fmla="*/ 19 w 734"/>
                  <a:gd name="T49" fmla="*/ 481 h 481"/>
                  <a:gd name="T50" fmla="*/ 19 w 734"/>
                  <a:gd name="T51" fmla="*/ 481 h 481"/>
                  <a:gd name="T52" fmla="*/ 19 w 734"/>
                  <a:gd name="T53" fmla="*/ 481 h 481"/>
                  <a:gd name="T54" fmla="*/ 252 w 734"/>
                  <a:gd name="T55" fmla="*/ 481 h 481"/>
                  <a:gd name="T56" fmla="*/ 300 w 734"/>
                  <a:gd name="T57" fmla="*/ 433 h 481"/>
                  <a:gd name="T58" fmla="*/ 300 w 734"/>
                  <a:gd name="T59" fmla="*/ 433 h 481"/>
                  <a:gd name="T60" fmla="*/ 734 w 734"/>
                  <a:gd name="T61" fmla="*/ 206 h 481"/>
                  <a:gd name="T62" fmla="*/ 685 w 734"/>
                  <a:gd name="T63" fmla="*/ 254 h 481"/>
                  <a:gd name="T64" fmla="*/ 600 w 734"/>
                  <a:gd name="T65" fmla="*/ 254 h 481"/>
                  <a:gd name="T66" fmla="*/ 457 w 734"/>
                  <a:gd name="T67" fmla="*/ 373 h 481"/>
                  <a:gd name="T68" fmla="*/ 300 w 734"/>
                  <a:gd name="T69" fmla="*/ 373 h 481"/>
                  <a:gd name="T70" fmla="*/ 457 w 734"/>
                  <a:gd name="T71" fmla="*/ 373 h 481"/>
                  <a:gd name="T72" fmla="*/ 600 w 734"/>
                  <a:gd name="T73" fmla="*/ 254 h 481"/>
                  <a:gd name="T74" fmla="*/ 685 w 734"/>
                  <a:gd name="T75" fmla="*/ 254 h 481"/>
                  <a:gd name="T76" fmla="*/ 734 w 734"/>
                  <a:gd name="T77" fmla="*/ 206 h 481"/>
                  <a:gd name="T78" fmla="*/ 734 w 734"/>
                  <a:gd name="T79" fmla="*/ 206 h 481"/>
                  <a:gd name="T80" fmla="*/ 734 w 734"/>
                  <a:gd name="T81" fmla="*/ 19 h 481"/>
                  <a:gd name="T82" fmla="*/ 734 w 734"/>
                  <a:gd name="T83" fmla="*/ 19 h 481"/>
                  <a:gd name="T84" fmla="*/ 734 w 734"/>
                  <a:gd name="T85" fmla="*/ 19 h 481"/>
                  <a:gd name="T86" fmla="*/ 734 w 734"/>
                  <a:gd name="T87" fmla="*/ 19 h 481"/>
                  <a:gd name="T88" fmla="*/ 734 w 734"/>
                  <a:gd name="T89" fmla="*/ 19 h 481"/>
                  <a:gd name="T90" fmla="*/ 734 w 734"/>
                  <a:gd name="T91" fmla="*/ 19 h 481"/>
                  <a:gd name="T92" fmla="*/ 734 w 734"/>
                  <a:gd name="T93" fmla="*/ 19 h 481"/>
                  <a:gd name="T94" fmla="*/ 734 w 734"/>
                  <a:gd name="T95" fmla="*/ 19 h 481"/>
                  <a:gd name="T96" fmla="*/ 734 w 734"/>
                  <a:gd name="T97" fmla="*/ 19 h 481"/>
                  <a:gd name="T98" fmla="*/ 734 w 734"/>
                  <a:gd name="T99" fmla="*/ 18 h 481"/>
                  <a:gd name="T100" fmla="*/ 734 w 734"/>
                  <a:gd name="T101" fmla="*/ 18 h 481"/>
                  <a:gd name="T102" fmla="*/ 734 w 734"/>
                  <a:gd name="T103" fmla="*/ 18 h 481"/>
                  <a:gd name="T104" fmla="*/ 730 w 734"/>
                  <a:gd name="T105" fmla="*/ 0 h 481"/>
                  <a:gd name="T106" fmla="*/ 734 w 734"/>
                  <a:gd name="T107" fmla="*/ 18 h 481"/>
                  <a:gd name="T108" fmla="*/ 730 w 734"/>
                  <a:gd name="T109" fmla="*/ 0 h 481"/>
                  <a:gd name="T110" fmla="*/ 730 w 734"/>
                  <a:gd name="T111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34" h="481">
                    <a:moveTo>
                      <a:pt x="19" y="481"/>
                    </a:move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moveTo>
                      <a:pt x="19" y="481"/>
                    </a:move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moveTo>
                      <a:pt x="19" y="481"/>
                    </a:move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moveTo>
                      <a:pt x="18" y="481"/>
                    </a:move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moveTo>
                      <a:pt x="18" y="481"/>
                    </a:move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moveTo>
                      <a:pt x="18" y="481"/>
                    </a:move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81"/>
                      <a:pt x="18" y="481"/>
                      <a:pt x="18" y="481"/>
                    </a:cubicBezTo>
                    <a:moveTo>
                      <a:pt x="0" y="477"/>
                    </a:moveTo>
                    <a:cubicBezTo>
                      <a:pt x="0" y="477"/>
                      <a:pt x="0" y="477"/>
                      <a:pt x="0" y="477"/>
                    </a:cubicBezTo>
                    <a:cubicBezTo>
                      <a:pt x="6" y="480"/>
                      <a:pt x="12" y="481"/>
                      <a:pt x="18" y="481"/>
                    </a:cubicBezTo>
                    <a:cubicBezTo>
                      <a:pt x="12" y="481"/>
                      <a:pt x="6" y="480"/>
                      <a:pt x="0" y="477"/>
                    </a:cubicBezTo>
                    <a:moveTo>
                      <a:pt x="300" y="433"/>
                    </a:moveTo>
                    <a:cubicBezTo>
                      <a:pt x="300" y="460"/>
                      <a:pt x="278" y="481"/>
                      <a:pt x="252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19" y="481"/>
                      <a:pt x="19" y="481"/>
                      <a:pt x="19" y="481"/>
                    </a:cubicBezTo>
                    <a:cubicBezTo>
                      <a:pt x="252" y="481"/>
                      <a:pt x="252" y="481"/>
                      <a:pt x="252" y="481"/>
                    </a:cubicBezTo>
                    <a:cubicBezTo>
                      <a:pt x="278" y="481"/>
                      <a:pt x="300" y="460"/>
                      <a:pt x="300" y="433"/>
                    </a:cubicBezTo>
                    <a:cubicBezTo>
                      <a:pt x="300" y="433"/>
                      <a:pt x="300" y="433"/>
                      <a:pt x="300" y="433"/>
                    </a:cubicBezTo>
                    <a:moveTo>
                      <a:pt x="734" y="206"/>
                    </a:moveTo>
                    <a:cubicBezTo>
                      <a:pt x="734" y="233"/>
                      <a:pt x="712" y="254"/>
                      <a:pt x="685" y="254"/>
                    </a:cubicBezTo>
                    <a:cubicBezTo>
                      <a:pt x="600" y="254"/>
                      <a:pt x="600" y="254"/>
                      <a:pt x="600" y="254"/>
                    </a:cubicBezTo>
                    <a:cubicBezTo>
                      <a:pt x="587" y="322"/>
                      <a:pt x="528" y="373"/>
                      <a:pt x="457" y="373"/>
                    </a:cubicBezTo>
                    <a:cubicBezTo>
                      <a:pt x="300" y="373"/>
                      <a:pt x="300" y="373"/>
                      <a:pt x="300" y="373"/>
                    </a:cubicBezTo>
                    <a:cubicBezTo>
                      <a:pt x="457" y="373"/>
                      <a:pt x="457" y="373"/>
                      <a:pt x="457" y="373"/>
                    </a:cubicBezTo>
                    <a:cubicBezTo>
                      <a:pt x="528" y="373"/>
                      <a:pt x="587" y="322"/>
                      <a:pt x="600" y="254"/>
                    </a:cubicBezTo>
                    <a:cubicBezTo>
                      <a:pt x="685" y="254"/>
                      <a:pt x="685" y="254"/>
                      <a:pt x="685" y="254"/>
                    </a:cubicBezTo>
                    <a:cubicBezTo>
                      <a:pt x="712" y="254"/>
                      <a:pt x="734" y="233"/>
                      <a:pt x="734" y="206"/>
                    </a:cubicBezTo>
                    <a:cubicBezTo>
                      <a:pt x="734" y="206"/>
                      <a:pt x="734" y="206"/>
                      <a:pt x="734" y="206"/>
                    </a:cubicBezTo>
                    <a:moveTo>
                      <a:pt x="734" y="19"/>
                    </a:move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moveTo>
                      <a:pt x="734" y="19"/>
                    </a:move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moveTo>
                      <a:pt x="734" y="19"/>
                    </a:moveTo>
                    <a:cubicBezTo>
                      <a:pt x="734" y="19"/>
                      <a:pt x="734" y="19"/>
                      <a:pt x="734" y="19"/>
                    </a:cubicBezTo>
                    <a:cubicBezTo>
                      <a:pt x="734" y="19"/>
                      <a:pt x="734" y="19"/>
                      <a:pt x="734" y="19"/>
                    </a:cubicBezTo>
                    <a:moveTo>
                      <a:pt x="734" y="18"/>
                    </a:moveTo>
                    <a:cubicBezTo>
                      <a:pt x="734" y="18"/>
                      <a:pt x="734" y="18"/>
                      <a:pt x="734" y="18"/>
                    </a:cubicBezTo>
                    <a:cubicBezTo>
                      <a:pt x="734" y="18"/>
                      <a:pt x="734" y="18"/>
                      <a:pt x="734" y="18"/>
                    </a:cubicBezTo>
                    <a:moveTo>
                      <a:pt x="730" y="0"/>
                    </a:moveTo>
                    <a:cubicBezTo>
                      <a:pt x="732" y="6"/>
                      <a:pt x="733" y="12"/>
                      <a:pt x="734" y="18"/>
                    </a:cubicBezTo>
                    <a:cubicBezTo>
                      <a:pt x="733" y="12"/>
                      <a:pt x="732" y="6"/>
                      <a:pt x="730" y="0"/>
                    </a:cubicBezTo>
                    <a:cubicBezTo>
                      <a:pt x="730" y="0"/>
                      <a:pt x="730" y="0"/>
                      <a:pt x="73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5" name="Freeform 28"/>
              <p:cNvSpPr>
                <a:spLocks/>
              </p:cNvSpPr>
              <p:nvPr/>
            </p:nvSpPr>
            <p:spPr bwMode="auto">
              <a:xfrm>
                <a:off x="3640137" y="3186768"/>
                <a:ext cx="131763" cy="347663"/>
              </a:xfrm>
              <a:custGeom>
                <a:avLst/>
                <a:gdLst>
                  <a:gd name="T0" fmla="*/ 0 w 30"/>
                  <a:gd name="T1" fmla="*/ 0 h 79"/>
                  <a:gd name="T2" fmla="*/ 4 w 30"/>
                  <a:gd name="T3" fmla="*/ 18 h 79"/>
                  <a:gd name="T4" fmla="*/ 4 w 30"/>
                  <a:gd name="T5" fmla="*/ 18 h 79"/>
                  <a:gd name="T6" fmla="*/ 4 w 30"/>
                  <a:gd name="T7" fmla="*/ 19 h 79"/>
                  <a:gd name="T8" fmla="*/ 4 w 30"/>
                  <a:gd name="T9" fmla="*/ 19 h 79"/>
                  <a:gd name="T10" fmla="*/ 4 w 30"/>
                  <a:gd name="T11" fmla="*/ 19 h 79"/>
                  <a:gd name="T12" fmla="*/ 4 w 30"/>
                  <a:gd name="T13" fmla="*/ 19 h 79"/>
                  <a:gd name="T14" fmla="*/ 4 w 30"/>
                  <a:gd name="T15" fmla="*/ 19 h 79"/>
                  <a:gd name="T16" fmla="*/ 4 w 30"/>
                  <a:gd name="T17" fmla="*/ 19 h 79"/>
                  <a:gd name="T18" fmla="*/ 4 w 30"/>
                  <a:gd name="T19" fmla="*/ 19 h 79"/>
                  <a:gd name="T20" fmla="*/ 4 w 30"/>
                  <a:gd name="T21" fmla="*/ 19 h 79"/>
                  <a:gd name="T22" fmla="*/ 4 w 30"/>
                  <a:gd name="T23" fmla="*/ 79 h 79"/>
                  <a:gd name="T24" fmla="*/ 30 w 30"/>
                  <a:gd name="T25" fmla="*/ 79 h 79"/>
                  <a:gd name="T26" fmla="*/ 30 w 30"/>
                  <a:gd name="T27" fmla="*/ 45 h 79"/>
                  <a:gd name="T28" fmla="*/ 15 w 30"/>
                  <a:gd name="T29" fmla="*/ 10 h 79"/>
                  <a:gd name="T30" fmla="*/ 0 w 30"/>
                  <a:gd name="T3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79">
                    <a:moveTo>
                      <a:pt x="0" y="0"/>
                    </a:moveTo>
                    <a:cubicBezTo>
                      <a:pt x="3" y="6"/>
                      <a:pt x="4" y="12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79"/>
                      <a:pt x="4" y="79"/>
                      <a:pt x="4" y="79"/>
                    </a:cubicBezTo>
                    <a:cubicBezTo>
                      <a:pt x="30" y="79"/>
                      <a:pt x="30" y="79"/>
                      <a:pt x="30" y="79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30" y="32"/>
                      <a:pt x="25" y="19"/>
                      <a:pt x="15" y="10"/>
                    </a:cubicBezTo>
                    <a:cubicBezTo>
                      <a:pt x="11" y="6"/>
                      <a:pt x="6" y="2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Freeform 29"/>
              <p:cNvSpPr>
                <a:spLocks noEditPoints="1"/>
              </p:cNvSpPr>
              <p:nvPr/>
            </p:nvSpPr>
            <p:spPr bwMode="auto">
              <a:xfrm>
                <a:off x="3640137" y="3186768"/>
                <a:ext cx="17463" cy="84138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19 h 19"/>
                  <a:gd name="T4" fmla="*/ 4 w 4"/>
                  <a:gd name="T5" fmla="*/ 19 h 19"/>
                  <a:gd name="T6" fmla="*/ 4 w 4"/>
                  <a:gd name="T7" fmla="*/ 19 h 19"/>
                  <a:gd name="T8" fmla="*/ 4 w 4"/>
                  <a:gd name="T9" fmla="*/ 19 h 19"/>
                  <a:gd name="T10" fmla="*/ 4 w 4"/>
                  <a:gd name="T11" fmla="*/ 19 h 19"/>
                  <a:gd name="T12" fmla="*/ 4 w 4"/>
                  <a:gd name="T13" fmla="*/ 19 h 19"/>
                  <a:gd name="T14" fmla="*/ 4 w 4"/>
                  <a:gd name="T15" fmla="*/ 19 h 19"/>
                  <a:gd name="T16" fmla="*/ 4 w 4"/>
                  <a:gd name="T17" fmla="*/ 19 h 19"/>
                  <a:gd name="T18" fmla="*/ 4 w 4"/>
                  <a:gd name="T19" fmla="*/ 18 h 19"/>
                  <a:gd name="T20" fmla="*/ 4 w 4"/>
                  <a:gd name="T21" fmla="*/ 19 h 19"/>
                  <a:gd name="T22" fmla="*/ 4 w 4"/>
                  <a:gd name="T23" fmla="*/ 18 h 19"/>
                  <a:gd name="T24" fmla="*/ 0 w 4"/>
                  <a:gd name="T25" fmla="*/ 0 h 19"/>
                  <a:gd name="T26" fmla="*/ 4 w 4"/>
                  <a:gd name="T27" fmla="*/ 18 h 19"/>
                  <a:gd name="T28" fmla="*/ 0 w 4"/>
                  <a:gd name="T29" fmla="*/ 0 h 19"/>
                  <a:gd name="T30" fmla="*/ 0 w 4"/>
                  <a:gd name="T3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8"/>
                    </a:moveTo>
                    <a:cubicBezTo>
                      <a:pt x="4" y="18"/>
                      <a:pt x="4" y="19"/>
                      <a:pt x="4" y="19"/>
                    </a:cubicBezTo>
                    <a:cubicBezTo>
                      <a:pt x="4" y="19"/>
                      <a:pt x="4" y="18"/>
                      <a:pt x="4" y="18"/>
                    </a:cubicBezTo>
                    <a:moveTo>
                      <a:pt x="0" y="0"/>
                    </a:moveTo>
                    <a:cubicBezTo>
                      <a:pt x="3" y="6"/>
                      <a:pt x="4" y="12"/>
                      <a:pt x="4" y="18"/>
                    </a:cubicBezTo>
                    <a:cubicBezTo>
                      <a:pt x="4" y="12"/>
                      <a:pt x="3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7" name="Freeform 30"/>
              <p:cNvSpPr>
                <a:spLocks/>
              </p:cNvSpPr>
              <p:nvPr/>
            </p:nvSpPr>
            <p:spPr bwMode="auto">
              <a:xfrm>
                <a:off x="4243387" y="3288368"/>
                <a:ext cx="430213" cy="131763"/>
              </a:xfrm>
              <a:custGeom>
                <a:avLst/>
                <a:gdLst>
                  <a:gd name="T0" fmla="*/ 0 w 98"/>
                  <a:gd name="T1" fmla="*/ 0 h 30"/>
                  <a:gd name="T2" fmla="*/ 45 w 98"/>
                  <a:gd name="T3" fmla="*/ 30 h 30"/>
                  <a:gd name="T4" fmla="*/ 82 w 98"/>
                  <a:gd name="T5" fmla="*/ 30 h 30"/>
                  <a:gd name="T6" fmla="*/ 97 w 98"/>
                  <a:gd name="T7" fmla="*/ 5 h 30"/>
                  <a:gd name="T8" fmla="*/ 97 w 98"/>
                  <a:gd name="T9" fmla="*/ 5 h 30"/>
                  <a:gd name="T10" fmla="*/ 97 w 98"/>
                  <a:gd name="T11" fmla="*/ 5 h 30"/>
                  <a:gd name="T12" fmla="*/ 97 w 98"/>
                  <a:gd name="T13" fmla="*/ 5 h 30"/>
                  <a:gd name="T14" fmla="*/ 97 w 98"/>
                  <a:gd name="T15" fmla="*/ 5 h 30"/>
                  <a:gd name="T16" fmla="*/ 97 w 98"/>
                  <a:gd name="T17" fmla="*/ 5 h 30"/>
                  <a:gd name="T18" fmla="*/ 97 w 98"/>
                  <a:gd name="T19" fmla="*/ 5 h 30"/>
                  <a:gd name="T20" fmla="*/ 98 w 98"/>
                  <a:gd name="T21" fmla="*/ 5 h 30"/>
                  <a:gd name="T22" fmla="*/ 98 w 98"/>
                  <a:gd name="T23" fmla="*/ 4 h 30"/>
                  <a:gd name="T24" fmla="*/ 98 w 98"/>
                  <a:gd name="T25" fmla="*/ 4 h 30"/>
                  <a:gd name="T26" fmla="*/ 98 w 98"/>
                  <a:gd name="T27" fmla="*/ 4 h 30"/>
                  <a:gd name="T28" fmla="*/ 20 w 98"/>
                  <a:gd name="T29" fmla="*/ 4 h 30"/>
                  <a:gd name="T30" fmla="*/ 19 w 98"/>
                  <a:gd name="T31" fmla="*/ 4 h 30"/>
                  <a:gd name="T32" fmla="*/ 19 w 98"/>
                  <a:gd name="T33" fmla="*/ 4 h 30"/>
                  <a:gd name="T34" fmla="*/ 19 w 98"/>
                  <a:gd name="T35" fmla="*/ 4 h 30"/>
                  <a:gd name="T36" fmla="*/ 19 w 98"/>
                  <a:gd name="T37" fmla="*/ 4 h 30"/>
                  <a:gd name="T38" fmla="*/ 19 w 98"/>
                  <a:gd name="T39" fmla="*/ 4 h 30"/>
                  <a:gd name="T40" fmla="*/ 19 w 98"/>
                  <a:gd name="T41" fmla="*/ 4 h 30"/>
                  <a:gd name="T42" fmla="*/ 19 w 98"/>
                  <a:gd name="T43" fmla="*/ 4 h 30"/>
                  <a:gd name="T44" fmla="*/ 19 w 98"/>
                  <a:gd name="T45" fmla="*/ 4 h 30"/>
                  <a:gd name="T46" fmla="*/ 0 w 98"/>
                  <a:gd name="T4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8" h="30">
                    <a:moveTo>
                      <a:pt x="0" y="0"/>
                    </a:moveTo>
                    <a:cubicBezTo>
                      <a:pt x="8" y="18"/>
                      <a:pt x="25" y="30"/>
                      <a:pt x="45" y="30"/>
                    </a:cubicBezTo>
                    <a:cubicBezTo>
                      <a:pt x="82" y="30"/>
                      <a:pt x="82" y="30"/>
                      <a:pt x="82" y="30"/>
                    </a:cubicBezTo>
                    <a:cubicBezTo>
                      <a:pt x="89" y="23"/>
                      <a:pt x="94" y="14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cubicBezTo>
                      <a:pt x="98" y="5"/>
                      <a:pt x="98" y="5"/>
                      <a:pt x="98" y="5"/>
                    </a:cubicBezTo>
                    <a:cubicBezTo>
                      <a:pt x="98" y="5"/>
                      <a:pt x="98" y="5"/>
                      <a:pt x="98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2" y="4"/>
                      <a:pt x="6" y="3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8" name="Freeform 31"/>
              <p:cNvSpPr>
                <a:spLocks noEditPoints="1"/>
              </p:cNvSpPr>
              <p:nvPr/>
            </p:nvSpPr>
            <p:spPr bwMode="auto">
              <a:xfrm>
                <a:off x="4243387" y="3288368"/>
                <a:ext cx="430213" cy="22225"/>
              </a:xfrm>
              <a:custGeom>
                <a:avLst/>
                <a:gdLst>
                  <a:gd name="T0" fmla="*/ 97 w 98"/>
                  <a:gd name="T1" fmla="*/ 5 h 5"/>
                  <a:gd name="T2" fmla="*/ 97 w 98"/>
                  <a:gd name="T3" fmla="*/ 5 h 5"/>
                  <a:gd name="T4" fmla="*/ 97 w 98"/>
                  <a:gd name="T5" fmla="*/ 5 h 5"/>
                  <a:gd name="T6" fmla="*/ 97 w 98"/>
                  <a:gd name="T7" fmla="*/ 5 h 5"/>
                  <a:gd name="T8" fmla="*/ 97 w 98"/>
                  <a:gd name="T9" fmla="*/ 5 h 5"/>
                  <a:gd name="T10" fmla="*/ 97 w 98"/>
                  <a:gd name="T11" fmla="*/ 5 h 5"/>
                  <a:gd name="T12" fmla="*/ 97 w 98"/>
                  <a:gd name="T13" fmla="*/ 5 h 5"/>
                  <a:gd name="T14" fmla="*/ 97 w 98"/>
                  <a:gd name="T15" fmla="*/ 5 h 5"/>
                  <a:gd name="T16" fmla="*/ 97 w 98"/>
                  <a:gd name="T17" fmla="*/ 5 h 5"/>
                  <a:gd name="T18" fmla="*/ 98 w 98"/>
                  <a:gd name="T19" fmla="*/ 5 h 5"/>
                  <a:gd name="T20" fmla="*/ 97 w 98"/>
                  <a:gd name="T21" fmla="*/ 5 h 5"/>
                  <a:gd name="T22" fmla="*/ 98 w 98"/>
                  <a:gd name="T23" fmla="*/ 5 h 5"/>
                  <a:gd name="T24" fmla="*/ 98 w 98"/>
                  <a:gd name="T25" fmla="*/ 4 h 5"/>
                  <a:gd name="T26" fmla="*/ 98 w 98"/>
                  <a:gd name="T27" fmla="*/ 4 h 5"/>
                  <a:gd name="T28" fmla="*/ 98 w 98"/>
                  <a:gd name="T29" fmla="*/ 4 h 5"/>
                  <a:gd name="T30" fmla="*/ 19 w 98"/>
                  <a:gd name="T31" fmla="*/ 4 h 5"/>
                  <a:gd name="T32" fmla="*/ 20 w 98"/>
                  <a:gd name="T33" fmla="*/ 4 h 5"/>
                  <a:gd name="T34" fmla="*/ 98 w 98"/>
                  <a:gd name="T35" fmla="*/ 4 h 5"/>
                  <a:gd name="T36" fmla="*/ 98 w 98"/>
                  <a:gd name="T37" fmla="*/ 4 h 5"/>
                  <a:gd name="T38" fmla="*/ 20 w 98"/>
                  <a:gd name="T39" fmla="*/ 4 h 5"/>
                  <a:gd name="T40" fmla="*/ 19 w 98"/>
                  <a:gd name="T41" fmla="*/ 4 h 5"/>
                  <a:gd name="T42" fmla="*/ 19 w 98"/>
                  <a:gd name="T43" fmla="*/ 4 h 5"/>
                  <a:gd name="T44" fmla="*/ 19 w 98"/>
                  <a:gd name="T45" fmla="*/ 4 h 5"/>
                  <a:gd name="T46" fmla="*/ 19 w 98"/>
                  <a:gd name="T47" fmla="*/ 4 h 5"/>
                  <a:gd name="T48" fmla="*/ 19 w 98"/>
                  <a:gd name="T49" fmla="*/ 4 h 5"/>
                  <a:gd name="T50" fmla="*/ 19 w 98"/>
                  <a:gd name="T51" fmla="*/ 4 h 5"/>
                  <a:gd name="T52" fmla="*/ 19 w 98"/>
                  <a:gd name="T53" fmla="*/ 4 h 5"/>
                  <a:gd name="T54" fmla="*/ 19 w 98"/>
                  <a:gd name="T55" fmla="*/ 4 h 5"/>
                  <a:gd name="T56" fmla="*/ 19 w 98"/>
                  <a:gd name="T57" fmla="*/ 4 h 5"/>
                  <a:gd name="T58" fmla="*/ 19 w 98"/>
                  <a:gd name="T59" fmla="*/ 4 h 5"/>
                  <a:gd name="T60" fmla="*/ 0 w 98"/>
                  <a:gd name="T61" fmla="*/ 0 h 5"/>
                  <a:gd name="T62" fmla="*/ 0 w 98"/>
                  <a:gd name="T63" fmla="*/ 0 h 5"/>
                  <a:gd name="T64" fmla="*/ 19 w 98"/>
                  <a:gd name="T65" fmla="*/ 4 h 5"/>
                  <a:gd name="T66" fmla="*/ 0 w 98"/>
                  <a:gd name="T6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8" h="5">
                    <a:moveTo>
                      <a:pt x="97" y="5"/>
                    </a:move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moveTo>
                      <a:pt x="97" y="5"/>
                    </a:move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moveTo>
                      <a:pt x="97" y="5"/>
                    </a:moveTo>
                    <a:cubicBezTo>
                      <a:pt x="97" y="5"/>
                      <a:pt x="97" y="5"/>
                      <a:pt x="97" y="5"/>
                    </a:cubicBezTo>
                    <a:cubicBezTo>
                      <a:pt x="97" y="5"/>
                      <a:pt x="97" y="5"/>
                      <a:pt x="97" y="5"/>
                    </a:cubicBezTo>
                    <a:moveTo>
                      <a:pt x="98" y="5"/>
                    </a:moveTo>
                    <a:cubicBezTo>
                      <a:pt x="98" y="5"/>
                      <a:pt x="98" y="5"/>
                      <a:pt x="97" y="5"/>
                    </a:cubicBezTo>
                    <a:cubicBezTo>
                      <a:pt x="98" y="5"/>
                      <a:pt x="98" y="5"/>
                      <a:pt x="98" y="5"/>
                    </a:cubicBezTo>
                    <a:moveTo>
                      <a:pt x="98" y="4"/>
                    </a:moveTo>
                    <a:cubicBezTo>
                      <a:pt x="98" y="4"/>
                      <a:pt x="98" y="4"/>
                      <a:pt x="98" y="4"/>
                    </a:cubicBezTo>
                    <a:cubicBezTo>
                      <a:pt x="98" y="4"/>
                      <a:pt x="98" y="4"/>
                      <a:pt x="98" y="4"/>
                    </a:cubicBezTo>
                    <a:moveTo>
                      <a:pt x="19" y="4"/>
                    </a:moveTo>
                    <a:cubicBezTo>
                      <a:pt x="19" y="4"/>
                      <a:pt x="19" y="4"/>
                      <a:pt x="20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9" y="4"/>
                      <a:pt x="19" y="4"/>
                      <a:pt x="19" y="4"/>
                    </a:cubicBezTo>
                    <a:moveTo>
                      <a:pt x="19" y="4"/>
                    </a:move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moveTo>
                      <a:pt x="19" y="4"/>
                    </a:move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moveTo>
                      <a:pt x="19" y="4"/>
                    </a:move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3"/>
                      <a:pt x="12" y="4"/>
                      <a:pt x="19" y="4"/>
                    </a:cubicBezTo>
                    <a:cubicBezTo>
                      <a:pt x="12" y="4"/>
                      <a:pt x="6" y="3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9" name="Freeform 32"/>
              <p:cNvSpPr>
                <a:spLocks/>
              </p:cNvSpPr>
              <p:nvPr/>
            </p:nvSpPr>
            <p:spPr bwMode="auto">
              <a:xfrm>
                <a:off x="1173162" y="3829706"/>
                <a:ext cx="1038225" cy="220663"/>
              </a:xfrm>
              <a:custGeom>
                <a:avLst/>
                <a:gdLst>
                  <a:gd name="T0" fmla="*/ 236 w 236"/>
                  <a:gd name="T1" fmla="*/ 0 h 50"/>
                  <a:gd name="T2" fmla="*/ 74 w 236"/>
                  <a:gd name="T3" fmla="*/ 0 h 50"/>
                  <a:gd name="T4" fmla="*/ 0 w 236"/>
                  <a:gd name="T5" fmla="*/ 50 h 50"/>
                  <a:gd name="T6" fmla="*/ 42 w 236"/>
                  <a:gd name="T7" fmla="*/ 50 h 50"/>
                  <a:gd name="T8" fmla="*/ 99 w 236"/>
                  <a:gd name="T9" fmla="*/ 25 h 50"/>
                  <a:gd name="T10" fmla="*/ 236 w 236"/>
                  <a:gd name="T11" fmla="*/ 25 h 50"/>
                  <a:gd name="T12" fmla="*/ 236 w 236"/>
                  <a:gd name="T13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50">
                    <a:moveTo>
                      <a:pt x="236" y="0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40" y="0"/>
                      <a:pt x="11" y="21"/>
                      <a:pt x="0" y="50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56" y="35"/>
                      <a:pt x="77" y="25"/>
                      <a:pt x="99" y="25"/>
                    </a:cubicBezTo>
                    <a:cubicBezTo>
                      <a:pt x="236" y="25"/>
                      <a:pt x="236" y="25"/>
                      <a:pt x="236" y="25"/>
                    </a:cubicBezTo>
                    <a:cubicBezTo>
                      <a:pt x="236" y="0"/>
                      <a:pt x="236" y="0"/>
                      <a:pt x="236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0" name="Freeform 33"/>
              <p:cNvSpPr>
                <a:spLocks/>
              </p:cNvSpPr>
              <p:nvPr/>
            </p:nvSpPr>
            <p:spPr bwMode="auto">
              <a:xfrm>
                <a:off x="1181100" y="4182131"/>
                <a:ext cx="660400" cy="1274763"/>
              </a:xfrm>
              <a:custGeom>
                <a:avLst/>
                <a:gdLst>
                  <a:gd name="T0" fmla="*/ 121 w 150"/>
                  <a:gd name="T1" fmla="*/ 0 h 290"/>
                  <a:gd name="T2" fmla="*/ 124 w 150"/>
                  <a:gd name="T3" fmla="*/ 19 h 290"/>
                  <a:gd name="T4" fmla="*/ 124 w 150"/>
                  <a:gd name="T5" fmla="*/ 19 h 290"/>
                  <a:gd name="T6" fmla="*/ 124 w 150"/>
                  <a:gd name="T7" fmla="*/ 19 h 290"/>
                  <a:gd name="T8" fmla="*/ 124 w 150"/>
                  <a:gd name="T9" fmla="*/ 19 h 290"/>
                  <a:gd name="T10" fmla="*/ 124 w 150"/>
                  <a:gd name="T11" fmla="*/ 19 h 290"/>
                  <a:gd name="T12" fmla="*/ 124 w 150"/>
                  <a:gd name="T13" fmla="*/ 19 h 290"/>
                  <a:gd name="T14" fmla="*/ 124 w 150"/>
                  <a:gd name="T15" fmla="*/ 19 h 290"/>
                  <a:gd name="T16" fmla="*/ 124 w 150"/>
                  <a:gd name="T17" fmla="*/ 19 h 290"/>
                  <a:gd name="T18" fmla="*/ 124 w 150"/>
                  <a:gd name="T19" fmla="*/ 206 h 290"/>
                  <a:gd name="T20" fmla="*/ 124 w 150"/>
                  <a:gd name="T21" fmla="*/ 206 h 290"/>
                  <a:gd name="T22" fmla="*/ 76 w 150"/>
                  <a:gd name="T23" fmla="*/ 254 h 290"/>
                  <a:gd name="T24" fmla="*/ 0 w 150"/>
                  <a:gd name="T25" fmla="*/ 254 h 290"/>
                  <a:gd name="T26" fmla="*/ 0 w 150"/>
                  <a:gd name="T27" fmla="*/ 254 h 290"/>
                  <a:gd name="T28" fmla="*/ 4 w 150"/>
                  <a:gd name="T29" fmla="*/ 263 h 290"/>
                  <a:gd name="T30" fmla="*/ 4 w 150"/>
                  <a:gd name="T31" fmla="*/ 263 h 290"/>
                  <a:gd name="T32" fmla="*/ 4 w 150"/>
                  <a:gd name="T33" fmla="*/ 263 h 290"/>
                  <a:gd name="T34" fmla="*/ 4 w 150"/>
                  <a:gd name="T35" fmla="*/ 263 h 290"/>
                  <a:gd name="T36" fmla="*/ 4 w 150"/>
                  <a:gd name="T37" fmla="*/ 263 h 290"/>
                  <a:gd name="T38" fmla="*/ 4 w 150"/>
                  <a:gd name="T39" fmla="*/ 263 h 290"/>
                  <a:gd name="T40" fmla="*/ 4 w 150"/>
                  <a:gd name="T41" fmla="*/ 263 h 290"/>
                  <a:gd name="T42" fmla="*/ 4 w 150"/>
                  <a:gd name="T43" fmla="*/ 263 h 290"/>
                  <a:gd name="T44" fmla="*/ 4 w 150"/>
                  <a:gd name="T45" fmla="*/ 263 h 290"/>
                  <a:gd name="T46" fmla="*/ 30 w 150"/>
                  <a:gd name="T47" fmla="*/ 290 h 290"/>
                  <a:gd name="T48" fmla="*/ 25 w 150"/>
                  <a:gd name="T49" fmla="*/ 280 h 290"/>
                  <a:gd name="T50" fmla="*/ 101 w 150"/>
                  <a:gd name="T51" fmla="*/ 280 h 290"/>
                  <a:gd name="T52" fmla="*/ 150 w 150"/>
                  <a:gd name="T53" fmla="*/ 231 h 290"/>
                  <a:gd name="T54" fmla="*/ 150 w 150"/>
                  <a:gd name="T55" fmla="*/ 45 h 290"/>
                  <a:gd name="T56" fmla="*/ 136 w 150"/>
                  <a:gd name="T57" fmla="*/ 10 h 290"/>
                  <a:gd name="T58" fmla="*/ 121 w 150"/>
                  <a:gd name="T59" fmla="*/ 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0" h="290">
                    <a:moveTo>
                      <a:pt x="121" y="0"/>
                    </a:moveTo>
                    <a:cubicBezTo>
                      <a:pt x="123" y="6"/>
                      <a:pt x="124" y="12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206"/>
                      <a:pt x="124" y="206"/>
                      <a:pt x="124" y="206"/>
                    </a:cubicBezTo>
                    <a:cubicBezTo>
                      <a:pt x="124" y="206"/>
                      <a:pt x="124" y="206"/>
                      <a:pt x="124" y="206"/>
                    </a:cubicBezTo>
                    <a:cubicBezTo>
                      <a:pt x="124" y="233"/>
                      <a:pt x="103" y="254"/>
                      <a:pt x="76" y="254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1" y="257"/>
                      <a:pt x="2" y="260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cubicBezTo>
                      <a:pt x="11" y="274"/>
                      <a:pt x="20" y="283"/>
                      <a:pt x="30" y="290"/>
                    </a:cubicBezTo>
                    <a:cubicBezTo>
                      <a:pt x="28" y="287"/>
                      <a:pt x="27" y="283"/>
                      <a:pt x="25" y="280"/>
                    </a:cubicBezTo>
                    <a:cubicBezTo>
                      <a:pt x="101" y="280"/>
                      <a:pt x="101" y="280"/>
                      <a:pt x="101" y="280"/>
                    </a:cubicBezTo>
                    <a:cubicBezTo>
                      <a:pt x="128" y="280"/>
                      <a:pt x="150" y="258"/>
                      <a:pt x="150" y="231"/>
                    </a:cubicBezTo>
                    <a:cubicBezTo>
                      <a:pt x="150" y="45"/>
                      <a:pt x="150" y="45"/>
                      <a:pt x="150" y="45"/>
                    </a:cubicBezTo>
                    <a:cubicBezTo>
                      <a:pt x="150" y="32"/>
                      <a:pt x="145" y="19"/>
                      <a:pt x="136" y="10"/>
                    </a:cubicBezTo>
                    <a:cubicBezTo>
                      <a:pt x="131" y="6"/>
                      <a:pt x="126" y="2"/>
                      <a:pt x="121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1" name="Freeform 34"/>
              <p:cNvSpPr>
                <a:spLocks noEditPoints="1"/>
              </p:cNvSpPr>
              <p:nvPr/>
            </p:nvSpPr>
            <p:spPr bwMode="auto">
              <a:xfrm>
                <a:off x="1181100" y="4182131"/>
                <a:ext cx="546100" cy="1155700"/>
              </a:xfrm>
              <a:custGeom>
                <a:avLst/>
                <a:gdLst>
                  <a:gd name="T0" fmla="*/ 4 w 124"/>
                  <a:gd name="T1" fmla="*/ 263 h 263"/>
                  <a:gd name="T2" fmla="*/ 4 w 124"/>
                  <a:gd name="T3" fmla="*/ 263 h 263"/>
                  <a:gd name="T4" fmla="*/ 4 w 124"/>
                  <a:gd name="T5" fmla="*/ 263 h 263"/>
                  <a:gd name="T6" fmla="*/ 4 w 124"/>
                  <a:gd name="T7" fmla="*/ 263 h 263"/>
                  <a:gd name="T8" fmla="*/ 4 w 124"/>
                  <a:gd name="T9" fmla="*/ 263 h 263"/>
                  <a:gd name="T10" fmla="*/ 4 w 124"/>
                  <a:gd name="T11" fmla="*/ 263 h 263"/>
                  <a:gd name="T12" fmla="*/ 4 w 124"/>
                  <a:gd name="T13" fmla="*/ 263 h 263"/>
                  <a:gd name="T14" fmla="*/ 4 w 124"/>
                  <a:gd name="T15" fmla="*/ 263 h 263"/>
                  <a:gd name="T16" fmla="*/ 4 w 124"/>
                  <a:gd name="T17" fmla="*/ 263 h 263"/>
                  <a:gd name="T18" fmla="*/ 4 w 124"/>
                  <a:gd name="T19" fmla="*/ 263 h 263"/>
                  <a:gd name="T20" fmla="*/ 4 w 124"/>
                  <a:gd name="T21" fmla="*/ 263 h 263"/>
                  <a:gd name="T22" fmla="*/ 4 w 124"/>
                  <a:gd name="T23" fmla="*/ 263 h 263"/>
                  <a:gd name="T24" fmla="*/ 0 w 124"/>
                  <a:gd name="T25" fmla="*/ 254 h 263"/>
                  <a:gd name="T26" fmla="*/ 4 w 124"/>
                  <a:gd name="T27" fmla="*/ 263 h 263"/>
                  <a:gd name="T28" fmla="*/ 0 w 124"/>
                  <a:gd name="T29" fmla="*/ 254 h 263"/>
                  <a:gd name="T30" fmla="*/ 124 w 124"/>
                  <a:gd name="T31" fmla="*/ 206 h 263"/>
                  <a:gd name="T32" fmla="*/ 76 w 124"/>
                  <a:gd name="T33" fmla="*/ 254 h 263"/>
                  <a:gd name="T34" fmla="*/ 0 w 124"/>
                  <a:gd name="T35" fmla="*/ 254 h 263"/>
                  <a:gd name="T36" fmla="*/ 0 w 124"/>
                  <a:gd name="T37" fmla="*/ 254 h 263"/>
                  <a:gd name="T38" fmla="*/ 76 w 124"/>
                  <a:gd name="T39" fmla="*/ 254 h 263"/>
                  <a:gd name="T40" fmla="*/ 124 w 124"/>
                  <a:gd name="T41" fmla="*/ 206 h 263"/>
                  <a:gd name="T42" fmla="*/ 124 w 124"/>
                  <a:gd name="T43" fmla="*/ 206 h 263"/>
                  <a:gd name="T44" fmla="*/ 124 w 124"/>
                  <a:gd name="T45" fmla="*/ 19 h 263"/>
                  <a:gd name="T46" fmla="*/ 124 w 124"/>
                  <a:gd name="T47" fmla="*/ 19 h 263"/>
                  <a:gd name="T48" fmla="*/ 124 w 124"/>
                  <a:gd name="T49" fmla="*/ 19 h 263"/>
                  <a:gd name="T50" fmla="*/ 124 w 124"/>
                  <a:gd name="T51" fmla="*/ 19 h 263"/>
                  <a:gd name="T52" fmla="*/ 124 w 124"/>
                  <a:gd name="T53" fmla="*/ 19 h 263"/>
                  <a:gd name="T54" fmla="*/ 124 w 124"/>
                  <a:gd name="T55" fmla="*/ 19 h 263"/>
                  <a:gd name="T56" fmla="*/ 124 w 124"/>
                  <a:gd name="T57" fmla="*/ 19 h 263"/>
                  <a:gd name="T58" fmla="*/ 124 w 124"/>
                  <a:gd name="T59" fmla="*/ 19 h 263"/>
                  <a:gd name="T60" fmla="*/ 124 w 124"/>
                  <a:gd name="T61" fmla="*/ 19 h 263"/>
                  <a:gd name="T62" fmla="*/ 121 w 124"/>
                  <a:gd name="T63" fmla="*/ 0 h 263"/>
                  <a:gd name="T64" fmla="*/ 124 w 124"/>
                  <a:gd name="T65" fmla="*/ 19 h 263"/>
                  <a:gd name="T66" fmla="*/ 121 w 124"/>
                  <a:gd name="T67" fmla="*/ 0 h 263"/>
                  <a:gd name="T68" fmla="*/ 121 w 124"/>
                  <a:gd name="T6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4" h="263">
                    <a:moveTo>
                      <a:pt x="4" y="263"/>
                    </a:move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moveTo>
                      <a:pt x="4" y="263"/>
                    </a:move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moveTo>
                      <a:pt x="4" y="263"/>
                    </a:move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moveTo>
                      <a:pt x="4" y="263"/>
                    </a:moveTo>
                    <a:cubicBezTo>
                      <a:pt x="4" y="263"/>
                      <a:pt x="4" y="263"/>
                      <a:pt x="4" y="263"/>
                    </a:cubicBezTo>
                    <a:cubicBezTo>
                      <a:pt x="4" y="263"/>
                      <a:pt x="4" y="263"/>
                      <a:pt x="4" y="263"/>
                    </a:cubicBezTo>
                    <a:moveTo>
                      <a:pt x="0" y="254"/>
                    </a:moveTo>
                    <a:cubicBezTo>
                      <a:pt x="1" y="257"/>
                      <a:pt x="2" y="260"/>
                      <a:pt x="4" y="263"/>
                    </a:cubicBezTo>
                    <a:cubicBezTo>
                      <a:pt x="2" y="260"/>
                      <a:pt x="1" y="257"/>
                      <a:pt x="0" y="254"/>
                    </a:cubicBezTo>
                    <a:moveTo>
                      <a:pt x="124" y="206"/>
                    </a:moveTo>
                    <a:cubicBezTo>
                      <a:pt x="124" y="233"/>
                      <a:pt x="103" y="254"/>
                      <a:pt x="76" y="254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76" y="254"/>
                      <a:pt x="76" y="254"/>
                      <a:pt x="76" y="254"/>
                    </a:cubicBezTo>
                    <a:cubicBezTo>
                      <a:pt x="103" y="254"/>
                      <a:pt x="124" y="233"/>
                      <a:pt x="124" y="206"/>
                    </a:cubicBezTo>
                    <a:cubicBezTo>
                      <a:pt x="124" y="206"/>
                      <a:pt x="124" y="206"/>
                      <a:pt x="124" y="206"/>
                    </a:cubicBezTo>
                    <a:moveTo>
                      <a:pt x="124" y="19"/>
                    </a:move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moveTo>
                      <a:pt x="124" y="19"/>
                    </a:move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moveTo>
                      <a:pt x="124" y="19"/>
                    </a:move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moveTo>
                      <a:pt x="121" y="0"/>
                    </a:moveTo>
                    <a:cubicBezTo>
                      <a:pt x="123" y="6"/>
                      <a:pt x="124" y="12"/>
                      <a:pt x="124" y="19"/>
                    </a:cubicBezTo>
                    <a:cubicBezTo>
                      <a:pt x="124" y="12"/>
                      <a:pt x="123" y="6"/>
                      <a:pt x="121" y="0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2" name="Freeform 35"/>
              <p:cNvSpPr>
                <a:spLocks/>
              </p:cNvSpPr>
              <p:nvPr/>
            </p:nvSpPr>
            <p:spPr bwMode="auto">
              <a:xfrm>
                <a:off x="4656137" y="5166381"/>
                <a:ext cx="127000" cy="339725"/>
              </a:xfrm>
              <a:custGeom>
                <a:avLst/>
                <a:gdLst>
                  <a:gd name="T0" fmla="*/ 0 w 29"/>
                  <a:gd name="T1" fmla="*/ 0 h 77"/>
                  <a:gd name="T2" fmla="*/ 4 w 29"/>
                  <a:gd name="T3" fmla="*/ 18 h 77"/>
                  <a:gd name="T4" fmla="*/ 4 w 29"/>
                  <a:gd name="T5" fmla="*/ 18 h 77"/>
                  <a:gd name="T6" fmla="*/ 4 w 29"/>
                  <a:gd name="T7" fmla="*/ 19 h 77"/>
                  <a:gd name="T8" fmla="*/ 4 w 29"/>
                  <a:gd name="T9" fmla="*/ 19 h 77"/>
                  <a:gd name="T10" fmla="*/ 4 w 29"/>
                  <a:gd name="T11" fmla="*/ 19 h 77"/>
                  <a:gd name="T12" fmla="*/ 4 w 29"/>
                  <a:gd name="T13" fmla="*/ 19 h 77"/>
                  <a:gd name="T14" fmla="*/ 4 w 29"/>
                  <a:gd name="T15" fmla="*/ 19 h 77"/>
                  <a:gd name="T16" fmla="*/ 4 w 29"/>
                  <a:gd name="T17" fmla="*/ 19 h 77"/>
                  <a:gd name="T18" fmla="*/ 4 w 29"/>
                  <a:gd name="T19" fmla="*/ 19 h 77"/>
                  <a:gd name="T20" fmla="*/ 4 w 29"/>
                  <a:gd name="T21" fmla="*/ 19 h 77"/>
                  <a:gd name="T22" fmla="*/ 4 w 29"/>
                  <a:gd name="T23" fmla="*/ 77 h 77"/>
                  <a:gd name="T24" fmla="*/ 29 w 29"/>
                  <a:gd name="T25" fmla="*/ 77 h 77"/>
                  <a:gd name="T26" fmla="*/ 29 w 29"/>
                  <a:gd name="T27" fmla="*/ 45 h 77"/>
                  <a:gd name="T28" fmla="*/ 15 w 29"/>
                  <a:gd name="T29" fmla="*/ 10 h 77"/>
                  <a:gd name="T30" fmla="*/ 0 w 29"/>
                  <a:gd name="T3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77">
                    <a:moveTo>
                      <a:pt x="0" y="0"/>
                    </a:moveTo>
                    <a:cubicBezTo>
                      <a:pt x="2" y="6"/>
                      <a:pt x="4" y="12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77"/>
                      <a:pt x="4" y="77"/>
                      <a:pt x="4" y="77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32"/>
                      <a:pt x="24" y="19"/>
                      <a:pt x="15" y="10"/>
                    </a:cubicBezTo>
                    <a:cubicBezTo>
                      <a:pt x="11" y="6"/>
                      <a:pt x="6" y="2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3" name="Freeform 36"/>
              <p:cNvSpPr>
                <a:spLocks noEditPoints="1"/>
              </p:cNvSpPr>
              <p:nvPr/>
            </p:nvSpPr>
            <p:spPr bwMode="auto">
              <a:xfrm>
                <a:off x="4656137" y="5166381"/>
                <a:ext cx="17463" cy="84138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19 h 19"/>
                  <a:gd name="T4" fmla="*/ 4 w 4"/>
                  <a:gd name="T5" fmla="*/ 19 h 19"/>
                  <a:gd name="T6" fmla="*/ 4 w 4"/>
                  <a:gd name="T7" fmla="*/ 19 h 19"/>
                  <a:gd name="T8" fmla="*/ 4 w 4"/>
                  <a:gd name="T9" fmla="*/ 19 h 19"/>
                  <a:gd name="T10" fmla="*/ 4 w 4"/>
                  <a:gd name="T11" fmla="*/ 19 h 19"/>
                  <a:gd name="T12" fmla="*/ 4 w 4"/>
                  <a:gd name="T13" fmla="*/ 19 h 19"/>
                  <a:gd name="T14" fmla="*/ 4 w 4"/>
                  <a:gd name="T15" fmla="*/ 19 h 19"/>
                  <a:gd name="T16" fmla="*/ 4 w 4"/>
                  <a:gd name="T17" fmla="*/ 19 h 19"/>
                  <a:gd name="T18" fmla="*/ 4 w 4"/>
                  <a:gd name="T19" fmla="*/ 18 h 19"/>
                  <a:gd name="T20" fmla="*/ 4 w 4"/>
                  <a:gd name="T21" fmla="*/ 19 h 19"/>
                  <a:gd name="T22" fmla="*/ 4 w 4"/>
                  <a:gd name="T23" fmla="*/ 18 h 19"/>
                  <a:gd name="T24" fmla="*/ 0 w 4"/>
                  <a:gd name="T25" fmla="*/ 0 h 19"/>
                  <a:gd name="T26" fmla="*/ 4 w 4"/>
                  <a:gd name="T27" fmla="*/ 18 h 19"/>
                  <a:gd name="T28" fmla="*/ 0 w 4"/>
                  <a:gd name="T29" fmla="*/ 0 h 19"/>
                  <a:gd name="T30" fmla="*/ 0 w 4"/>
                  <a:gd name="T3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moveTo>
                      <a:pt x="4" y="18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moveTo>
                      <a:pt x="0" y="0"/>
                    </a:moveTo>
                    <a:cubicBezTo>
                      <a:pt x="2" y="6"/>
                      <a:pt x="4" y="12"/>
                      <a:pt x="4" y="18"/>
                    </a:cubicBezTo>
                    <a:cubicBezTo>
                      <a:pt x="4" y="12"/>
                      <a:pt x="2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Freeform 37"/>
              <p:cNvSpPr>
                <a:spLocks/>
              </p:cNvSpPr>
              <p:nvPr/>
            </p:nvSpPr>
            <p:spPr bwMode="auto">
              <a:xfrm>
                <a:off x="407987" y="5285443"/>
                <a:ext cx="500063" cy="128588"/>
              </a:xfrm>
              <a:custGeom>
                <a:avLst/>
                <a:gdLst>
                  <a:gd name="T0" fmla="*/ 0 w 114"/>
                  <a:gd name="T1" fmla="*/ 0 h 29"/>
                  <a:gd name="T2" fmla="*/ 45 w 114"/>
                  <a:gd name="T3" fmla="*/ 29 h 29"/>
                  <a:gd name="T4" fmla="*/ 114 w 114"/>
                  <a:gd name="T5" fmla="*/ 29 h 29"/>
                  <a:gd name="T6" fmla="*/ 106 w 114"/>
                  <a:gd name="T7" fmla="*/ 6 h 29"/>
                  <a:gd name="T8" fmla="*/ 106 w 114"/>
                  <a:gd name="T9" fmla="*/ 3 h 29"/>
                  <a:gd name="T10" fmla="*/ 106 w 114"/>
                  <a:gd name="T11" fmla="*/ 3 h 29"/>
                  <a:gd name="T12" fmla="*/ 19 w 114"/>
                  <a:gd name="T13" fmla="*/ 3 h 29"/>
                  <a:gd name="T14" fmla="*/ 19 w 114"/>
                  <a:gd name="T15" fmla="*/ 3 h 29"/>
                  <a:gd name="T16" fmla="*/ 19 w 114"/>
                  <a:gd name="T17" fmla="*/ 3 h 29"/>
                  <a:gd name="T18" fmla="*/ 19 w 114"/>
                  <a:gd name="T19" fmla="*/ 3 h 29"/>
                  <a:gd name="T20" fmla="*/ 19 w 114"/>
                  <a:gd name="T21" fmla="*/ 3 h 29"/>
                  <a:gd name="T22" fmla="*/ 19 w 114"/>
                  <a:gd name="T23" fmla="*/ 3 h 29"/>
                  <a:gd name="T24" fmla="*/ 19 w 114"/>
                  <a:gd name="T25" fmla="*/ 3 h 29"/>
                  <a:gd name="T26" fmla="*/ 0 w 114"/>
                  <a:gd name="T2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29">
                    <a:moveTo>
                      <a:pt x="0" y="0"/>
                    </a:moveTo>
                    <a:cubicBezTo>
                      <a:pt x="8" y="17"/>
                      <a:pt x="25" y="29"/>
                      <a:pt x="45" y="29"/>
                    </a:cubicBezTo>
                    <a:cubicBezTo>
                      <a:pt x="114" y="29"/>
                      <a:pt x="114" y="29"/>
                      <a:pt x="114" y="29"/>
                    </a:cubicBezTo>
                    <a:cubicBezTo>
                      <a:pt x="111" y="22"/>
                      <a:pt x="108" y="14"/>
                      <a:pt x="106" y="6"/>
                    </a:cubicBezTo>
                    <a:cubicBezTo>
                      <a:pt x="106" y="5"/>
                      <a:pt x="106" y="4"/>
                      <a:pt x="106" y="3"/>
                    </a:cubicBezTo>
                    <a:cubicBezTo>
                      <a:pt x="106" y="3"/>
                      <a:pt x="106" y="3"/>
                      <a:pt x="106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2" y="3"/>
                      <a:pt x="6" y="2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5" name="Freeform 38"/>
              <p:cNvSpPr>
                <a:spLocks noEditPoints="1"/>
              </p:cNvSpPr>
              <p:nvPr/>
            </p:nvSpPr>
            <p:spPr bwMode="auto">
              <a:xfrm>
                <a:off x="407987" y="5285443"/>
                <a:ext cx="500063" cy="128588"/>
              </a:xfrm>
              <a:custGeom>
                <a:avLst/>
                <a:gdLst>
                  <a:gd name="T0" fmla="*/ 106 w 114"/>
                  <a:gd name="T1" fmla="*/ 6 h 29"/>
                  <a:gd name="T2" fmla="*/ 114 w 114"/>
                  <a:gd name="T3" fmla="*/ 29 h 29"/>
                  <a:gd name="T4" fmla="*/ 114 w 114"/>
                  <a:gd name="T5" fmla="*/ 29 h 29"/>
                  <a:gd name="T6" fmla="*/ 106 w 114"/>
                  <a:gd name="T7" fmla="*/ 6 h 29"/>
                  <a:gd name="T8" fmla="*/ 19 w 114"/>
                  <a:gd name="T9" fmla="*/ 3 h 29"/>
                  <a:gd name="T10" fmla="*/ 19 w 114"/>
                  <a:gd name="T11" fmla="*/ 3 h 29"/>
                  <a:gd name="T12" fmla="*/ 106 w 114"/>
                  <a:gd name="T13" fmla="*/ 3 h 29"/>
                  <a:gd name="T14" fmla="*/ 106 w 114"/>
                  <a:gd name="T15" fmla="*/ 3 h 29"/>
                  <a:gd name="T16" fmla="*/ 106 w 114"/>
                  <a:gd name="T17" fmla="*/ 3 h 29"/>
                  <a:gd name="T18" fmla="*/ 19 w 114"/>
                  <a:gd name="T19" fmla="*/ 3 h 29"/>
                  <a:gd name="T20" fmla="*/ 19 w 114"/>
                  <a:gd name="T21" fmla="*/ 3 h 29"/>
                  <a:gd name="T22" fmla="*/ 19 w 114"/>
                  <a:gd name="T23" fmla="*/ 3 h 29"/>
                  <a:gd name="T24" fmla="*/ 19 w 114"/>
                  <a:gd name="T25" fmla="*/ 3 h 29"/>
                  <a:gd name="T26" fmla="*/ 19 w 114"/>
                  <a:gd name="T27" fmla="*/ 3 h 29"/>
                  <a:gd name="T28" fmla="*/ 19 w 114"/>
                  <a:gd name="T29" fmla="*/ 3 h 29"/>
                  <a:gd name="T30" fmla="*/ 19 w 114"/>
                  <a:gd name="T31" fmla="*/ 3 h 29"/>
                  <a:gd name="T32" fmla="*/ 19 w 114"/>
                  <a:gd name="T33" fmla="*/ 3 h 29"/>
                  <a:gd name="T34" fmla="*/ 0 w 114"/>
                  <a:gd name="T35" fmla="*/ 0 h 29"/>
                  <a:gd name="T36" fmla="*/ 0 w 114"/>
                  <a:gd name="T37" fmla="*/ 0 h 29"/>
                  <a:gd name="T38" fmla="*/ 19 w 114"/>
                  <a:gd name="T39" fmla="*/ 3 h 29"/>
                  <a:gd name="T40" fmla="*/ 0 w 114"/>
                  <a:gd name="T4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4" h="29">
                    <a:moveTo>
                      <a:pt x="106" y="6"/>
                    </a:moveTo>
                    <a:cubicBezTo>
                      <a:pt x="108" y="14"/>
                      <a:pt x="111" y="22"/>
                      <a:pt x="114" y="29"/>
                    </a:cubicBezTo>
                    <a:cubicBezTo>
                      <a:pt x="114" y="29"/>
                      <a:pt x="114" y="29"/>
                      <a:pt x="114" y="29"/>
                    </a:cubicBezTo>
                    <a:cubicBezTo>
                      <a:pt x="111" y="22"/>
                      <a:pt x="108" y="14"/>
                      <a:pt x="106" y="6"/>
                    </a:cubicBezTo>
                    <a:moveTo>
                      <a:pt x="19" y="3"/>
                    </a:moveTo>
                    <a:cubicBezTo>
                      <a:pt x="19" y="3"/>
                      <a:pt x="19" y="3"/>
                      <a:pt x="19" y="3"/>
                    </a:cubicBezTo>
                    <a:cubicBezTo>
                      <a:pt x="106" y="3"/>
                      <a:pt x="106" y="3"/>
                      <a:pt x="106" y="3"/>
                    </a:cubicBezTo>
                    <a:cubicBezTo>
                      <a:pt x="106" y="3"/>
                      <a:pt x="106" y="3"/>
                      <a:pt x="106" y="3"/>
                    </a:cubicBezTo>
                    <a:cubicBezTo>
                      <a:pt x="106" y="3"/>
                      <a:pt x="106" y="3"/>
                      <a:pt x="106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moveTo>
                      <a:pt x="19" y="3"/>
                    </a:move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moveTo>
                      <a:pt x="19" y="3"/>
                    </a:move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"/>
                      <a:pt x="12" y="3"/>
                      <a:pt x="19" y="3"/>
                    </a:cubicBezTo>
                    <a:cubicBezTo>
                      <a:pt x="12" y="3"/>
                      <a:pt x="6" y="2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6" name="Freeform 39"/>
              <p:cNvSpPr>
                <a:spLocks/>
              </p:cNvSpPr>
              <p:nvPr/>
            </p:nvSpPr>
            <p:spPr bwMode="auto">
              <a:xfrm>
                <a:off x="3354387" y="5541031"/>
                <a:ext cx="2516188" cy="857250"/>
              </a:xfrm>
              <a:custGeom>
                <a:avLst/>
                <a:gdLst>
                  <a:gd name="T0" fmla="*/ 540 w 572"/>
                  <a:gd name="T1" fmla="*/ 0 h 195"/>
                  <a:gd name="T2" fmla="*/ 546 w 572"/>
                  <a:gd name="T3" fmla="*/ 24 h 195"/>
                  <a:gd name="T4" fmla="*/ 546 w 572"/>
                  <a:gd name="T5" fmla="*/ 24 h 195"/>
                  <a:gd name="T6" fmla="*/ 546 w 572"/>
                  <a:gd name="T7" fmla="*/ 24 h 195"/>
                  <a:gd name="T8" fmla="*/ 546 w 572"/>
                  <a:gd name="T9" fmla="*/ 24 h 195"/>
                  <a:gd name="T10" fmla="*/ 546 w 572"/>
                  <a:gd name="T11" fmla="*/ 24 h 195"/>
                  <a:gd name="T12" fmla="*/ 546 w 572"/>
                  <a:gd name="T13" fmla="*/ 24 h 195"/>
                  <a:gd name="T14" fmla="*/ 546 w 572"/>
                  <a:gd name="T15" fmla="*/ 24 h 195"/>
                  <a:gd name="T16" fmla="*/ 546 w 572"/>
                  <a:gd name="T17" fmla="*/ 24 h 195"/>
                  <a:gd name="T18" fmla="*/ 546 w 572"/>
                  <a:gd name="T19" fmla="*/ 24 h 195"/>
                  <a:gd name="T20" fmla="*/ 546 w 572"/>
                  <a:gd name="T21" fmla="*/ 25 h 195"/>
                  <a:gd name="T22" fmla="*/ 546 w 572"/>
                  <a:gd name="T23" fmla="*/ 25 h 195"/>
                  <a:gd name="T24" fmla="*/ 546 w 572"/>
                  <a:gd name="T25" fmla="*/ 25 h 195"/>
                  <a:gd name="T26" fmla="*/ 546 w 572"/>
                  <a:gd name="T27" fmla="*/ 25 h 195"/>
                  <a:gd name="T28" fmla="*/ 546 w 572"/>
                  <a:gd name="T29" fmla="*/ 25 h 195"/>
                  <a:gd name="T30" fmla="*/ 546 w 572"/>
                  <a:gd name="T31" fmla="*/ 25 h 195"/>
                  <a:gd name="T32" fmla="*/ 546 w 572"/>
                  <a:gd name="T33" fmla="*/ 25 h 195"/>
                  <a:gd name="T34" fmla="*/ 490 w 572"/>
                  <a:gd name="T35" fmla="*/ 82 h 195"/>
                  <a:gd name="T36" fmla="*/ 445 w 572"/>
                  <a:gd name="T37" fmla="*/ 59 h 195"/>
                  <a:gd name="T38" fmla="*/ 300 w 572"/>
                  <a:gd name="T39" fmla="*/ 59 h 195"/>
                  <a:gd name="T40" fmla="*/ 300 w 572"/>
                  <a:gd name="T41" fmla="*/ 121 h 195"/>
                  <a:gd name="T42" fmla="*/ 300 w 572"/>
                  <a:gd name="T43" fmla="*/ 121 h 195"/>
                  <a:gd name="T44" fmla="*/ 251 w 572"/>
                  <a:gd name="T45" fmla="*/ 169 h 195"/>
                  <a:gd name="T46" fmla="*/ 19 w 572"/>
                  <a:gd name="T47" fmla="*/ 169 h 195"/>
                  <a:gd name="T48" fmla="*/ 19 w 572"/>
                  <a:gd name="T49" fmla="*/ 169 h 195"/>
                  <a:gd name="T50" fmla="*/ 19 w 572"/>
                  <a:gd name="T51" fmla="*/ 169 h 195"/>
                  <a:gd name="T52" fmla="*/ 18 w 572"/>
                  <a:gd name="T53" fmla="*/ 169 h 195"/>
                  <a:gd name="T54" fmla="*/ 18 w 572"/>
                  <a:gd name="T55" fmla="*/ 169 h 195"/>
                  <a:gd name="T56" fmla="*/ 18 w 572"/>
                  <a:gd name="T57" fmla="*/ 169 h 195"/>
                  <a:gd name="T58" fmla="*/ 18 w 572"/>
                  <a:gd name="T59" fmla="*/ 169 h 195"/>
                  <a:gd name="T60" fmla="*/ 0 w 572"/>
                  <a:gd name="T61" fmla="*/ 166 h 195"/>
                  <a:gd name="T62" fmla="*/ 44 w 572"/>
                  <a:gd name="T63" fmla="*/ 195 h 195"/>
                  <a:gd name="T64" fmla="*/ 277 w 572"/>
                  <a:gd name="T65" fmla="*/ 195 h 195"/>
                  <a:gd name="T66" fmla="*/ 325 w 572"/>
                  <a:gd name="T67" fmla="*/ 146 h 195"/>
                  <a:gd name="T68" fmla="*/ 325 w 572"/>
                  <a:gd name="T69" fmla="*/ 85 h 195"/>
                  <a:gd name="T70" fmla="*/ 470 w 572"/>
                  <a:gd name="T71" fmla="*/ 85 h 195"/>
                  <a:gd name="T72" fmla="*/ 515 w 572"/>
                  <a:gd name="T73" fmla="*/ 107 h 195"/>
                  <a:gd name="T74" fmla="*/ 572 w 572"/>
                  <a:gd name="T75" fmla="*/ 51 h 195"/>
                  <a:gd name="T76" fmla="*/ 540 w 572"/>
                  <a:gd name="T77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72" h="195">
                    <a:moveTo>
                      <a:pt x="540" y="0"/>
                    </a:moveTo>
                    <a:cubicBezTo>
                      <a:pt x="544" y="7"/>
                      <a:pt x="546" y="15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56"/>
                      <a:pt x="521" y="82"/>
                      <a:pt x="490" y="82"/>
                    </a:cubicBezTo>
                    <a:cubicBezTo>
                      <a:pt x="471" y="82"/>
                      <a:pt x="455" y="73"/>
                      <a:pt x="445" y="59"/>
                    </a:cubicBezTo>
                    <a:cubicBezTo>
                      <a:pt x="300" y="59"/>
                      <a:pt x="300" y="59"/>
                      <a:pt x="300" y="59"/>
                    </a:cubicBezTo>
                    <a:cubicBezTo>
                      <a:pt x="300" y="121"/>
                      <a:pt x="300" y="121"/>
                      <a:pt x="300" y="121"/>
                    </a:cubicBezTo>
                    <a:cubicBezTo>
                      <a:pt x="300" y="121"/>
                      <a:pt x="300" y="121"/>
                      <a:pt x="300" y="121"/>
                    </a:cubicBezTo>
                    <a:cubicBezTo>
                      <a:pt x="300" y="148"/>
                      <a:pt x="278" y="169"/>
                      <a:pt x="251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8" y="169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2" y="169"/>
                      <a:pt x="5" y="168"/>
                      <a:pt x="0" y="166"/>
                    </a:cubicBezTo>
                    <a:cubicBezTo>
                      <a:pt x="7" y="183"/>
                      <a:pt x="24" y="195"/>
                      <a:pt x="44" y="195"/>
                    </a:cubicBezTo>
                    <a:cubicBezTo>
                      <a:pt x="277" y="195"/>
                      <a:pt x="277" y="195"/>
                      <a:pt x="277" y="195"/>
                    </a:cubicBezTo>
                    <a:cubicBezTo>
                      <a:pt x="304" y="195"/>
                      <a:pt x="325" y="173"/>
                      <a:pt x="325" y="146"/>
                    </a:cubicBezTo>
                    <a:cubicBezTo>
                      <a:pt x="325" y="85"/>
                      <a:pt x="325" y="85"/>
                      <a:pt x="325" y="85"/>
                    </a:cubicBezTo>
                    <a:cubicBezTo>
                      <a:pt x="470" y="85"/>
                      <a:pt x="470" y="85"/>
                      <a:pt x="470" y="85"/>
                    </a:cubicBezTo>
                    <a:cubicBezTo>
                      <a:pt x="481" y="98"/>
                      <a:pt x="497" y="107"/>
                      <a:pt x="515" y="107"/>
                    </a:cubicBezTo>
                    <a:cubicBezTo>
                      <a:pt x="547" y="107"/>
                      <a:pt x="572" y="82"/>
                      <a:pt x="572" y="51"/>
                    </a:cubicBezTo>
                    <a:cubicBezTo>
                      <a:pt x="572" y="28"/>
                      <a:pt x="559" y="9"/>
                      <a:pt x="54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7" name="Freeform 40"/>
              <p:cNvSpPr>
                <a:spLocks noEditPoints="1"/>
              </p:cNvSpPr>
              <p:nvPr/>
            </p:nvSpPr>
            <p:spPr bwMode="auto">
              <a:xfrm>
                <a:off x="3354387" y="5541031"/>
                <a:ext cx="2401888" cy="742950"/>
              </a:xfrm>
              <a:custGeom>
                <a:avLst/>
                <a:gdLst>
                  <a:gd name="T0" fmla="*/ 18 w 546"/>
                  <a:gd name="T1" fmla="*/ 169 h 169"/>
                  <a:gd name="T2" fmla="*/ 19 w 546"/>
                  <a:gd name="T3" fmla="*/ 169 h 169"/>
                  <a:gd name="T4" fmla="*/ 18 w 546"/>
                  <a:gd name="T5" fmla="*/ 169 h 169"/>
                  <a:gd name="T6" fmla="*/ 18 w 546"/>
                  <a:gd name="T7" fmla="*/ 169 h 169"/>
                  <a:gd name="T8" fmla="*/ 18 w 546"/>
                  <a:gd name="T9" fmla="*/ 169 h 169"/>
                  <a:gd name="T10" fmla="*/ 18 w 546"/>
                  <a:gd name="T11" fmla="*/ 169 h 169"/>
                  <a:gd name="T12" fmla="*/ 0 w 546"/>
                  <a:gd name="T13" fmla="*/ 166 h 169"/>
                  <a:gd name="T14" fmla="*/ 0 w 546"/>
                  <a:gd name="T15" fmla="*/ 166 h 169"/>
                  <a:gd name="T16" fmla="*/ 18 w 546"/>
                  <a:gd name="T17" fmla="*/ 169 h 169"/>
                  <a:gd name="T18" fmla="*/ 0 w 546"/>
                  <a:gd name="T19" fmla="*/ 166 h 169"/>
                  <a:gd name="T20" fmla="*/ 300 w 546"/>
                  <a:gd name="T21" fmla="*/ 121 h 169"/>
                  <a:gd name="T22" fmla="*/ 251 w 546"/>
                  <a:gd name="T23" fmla="*/ 169 h 169"/>
                  <a:gd name="T24" fmla="*/ 19 w 546"/>
                  <a:gd name="T25" fmla="*/ 169 h 169"/>
                  <a:gd name="T26" fmla="*/ 19 w 546"/>
                  <a:gd name="T27" fmla="*/ 169 h 169"/>
                  <a:gd name="T28" fmla="*/ 19 w 546"/>
                  <a:gd name="T29" fmla="*/ 169 h 169"/>
                  <a:gd name="T30" fmla="*/ 251 w 546"/>
                  <a:gd name="T31" fmla="*/ 169 h 169"/>
                  <a:gd name="T32" fmla="*/ 300 w 546"/>
                  <a:gd name="T33" fmla="*/ 121 h 169"/>
                  <a:gd name="T34" fmla="*/ 300 w 546"/>
                  <a:gd name="T35" fmla="*/ 121 h 169"/>
                  <a:gd name="T36" fmla="*/ 546 w 546"/>
                  <a:gd name="T37" fmla="*/ 25 h 169"/>
                  <a:gd name="T38" fmla="*/ 490 w 546"/>
                  <a:gd name="T39" fmla="*/ 82 h 169"/>
                  <a:gd name="T40" fmla="*/ 445 w 546"/>
                  <a:gd name="T41" fmla="*/ 59 h 169"/>
                  <a:gd name="T42" fmla="*/ 300 w 546"/>
                  <a:gd name="T43" fmla="*/ 59 h 169"/>
                  <a:gd name="T44" fmla="*/ 445 w 546"/>
                  <a:gd name="T45" fmla="*/ 59 h 169"/>
                  <a:gd name="T46" fmla="*/ 490 w 546"/>
                  <a:gd name="T47" fmla="*/ 82 h 169"/>
                  <a:gd name="T48" fmla="*/ 546 w 546"/>
                  <a:gd name="T49" fmla="*/ 25 h 169"/>
                  <a:gd name="T50" fmla="*/ 546 w 546"/>
                  <a:gd name="T51" fmla="*/ 25 h 169"/>
                  <a:gd name="T52" fmla="*/ 546 w 546"/>
                  <a:gd name="T53" fmla="*/ 25 h 169"/>
                  <a:gd name="T54" fmla="*/ 546 w 546"/>
                  <a:gd name="T55" fmla="*/ 25 h 169"/>
                  <a:gd name="T56" fmla="*/ 546 w 546"/>
                  <a:gd name="T57" fmla="*/ 25 h 169"/>
                  <a:gd name="T58" fmla="*/ 546 w 546"/>
                  <a:gd name="T59" fmla="*/ 25 h 169"/>
                  <a:gd name="T60" fmla="*/ 546 w 546"/>
                  <a:gd name="T61" fmla="*/ 25 h 169"/>
                  <a:gd name="T62" fmla="*/ 546 w 546"/>
                  <a:gd name="T63" fmla="*/ 25 h 169"/>
                  <a:gd name="T64" fmla="*/ 546 w 546"/>
                  <a:gd name="T65" fmla="*/ 24 h 169"/>
                  <a:gd name="T66" fmla="*/ 546 w 546"/>
                  <a:gd name="T67" fmla="*/ 24 h 169"/>
                  <a:gd name="T68" fmla="*/ 546 w 546"/>
                  <a:gd name="T69" fmla="*/ 24 h 169"/>
                  <a:gd name="T70" fmla="*/ 546 w 546"/>
                  <a:gd name="T71" fmla="*/ 24 h 169"/>
                  <a:gd name="T72" fmla="*/ 546 w 546"/>
                  <a:gd name="T73" fmla="*/ 24 h 169"/>
                  <a:gd name="T74" fmla="*/ 546 w 546"/>
                  <a:gd name="T75" fmla="*/ 24 h 169"/>
                  <a:gd name="T76" fmla="*/ 546 w 546"/>
                  <a:gd name="T77" fmla="*/ 24 h 169"/>
                  <a:gd name="T78" fmla="*/ 546 w 546"/>
                  <a:gd name="T79" fmla="*/ 24 h 169"/>
                  <a:gd name="T80" fmla="*/ 546 w 546"/>
                  <a:gd name="T81" fmla="*/ 24 h 169"/>
                  <a:gd name="T82" fmla="*/ 546 w 546"/>
                  <a:gd name="T83" fmla="*/ 24 h 169"/>
                  <a:gd name="T84" fmla="*/ 546 w 546"/>
                  <a:gd name="T85" fmla="*/ 24 h 169"/>
                  <a:gd name="T86" fmla="*/ 546 w 546"/>
                  <a:gd name="T87" fmla="*/ 24 h 169"/>
                  <a:gd name="T88" fmla="*/ 540 w 546"/>
                  <a:gd name="T89" fmla="*/ 0 h 169"/>
                  <a:gd name="T90" fmla="*/ 546 w 546"/>
                  <a:gd name="T91" fmla="*/ 24 h 169"/>
                  <a:gd name="T92" fmla="*/ 540 w 546"/>
                  <a:gd name="T93" fmla="*/ 0 h 169"/>
                  <a:gd name="T94" fmla="*/ 540 w 546"/>
                  <a:gd name="T95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46" h="169">
                    <a:moveTo>
                      <a:pt x="18" y="169"/>
                    </a:move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8" y="169"/>
                    </a:cubicBezTo>
                    <a:moveTo>
                      <a:pt x="18" y="169"/>
                    </a:moveTo>
                    <a:cubicBezTo>
                      <a:pt x="18" y="169"/>
                      <a:pt x="18" y="169"/>
                      <a:pt x="18" y="169"/>
                    </a:cubicBezTo>
                    <a:cubicBezTo>
                      <a:pt x="18" y="169"/>
                      <a:pt x="18" y="169"/>
                      <a:pt x="18" y="169"/>
                    </a:cubicBezTo>
                    <a:moveTo>
                      <a:pt x="0" y="166"/>
                    </a:moveTo>
                    <a:cubicBezTo>
                      <a:pt x="0" y="166"/>
                      <a:pt x="0" y="166"/>
                      <a:pt x="0" y="166"/>
                    </a:cubicBezTo>
                    <a:cubicBezTo>
                      <a:pt x="5" y="168"/>
                      <a:pt x="12" y="169"/>
                      <a:pt x="18" y="169"/>
                    </a:cubicBezTo>
                    <a:cubicBezTo>
                      <a:pt x="12" y="169"/>
                      <a:pt x="5" y="168"/>
                      <a:pt x="0" y="166"/>
                    </a:cubicBezTo>
                    <a:moveTo>
                      <a:pt x="300" y="121"/>
                    </a:moveTo>
                    <a:cubicBezTo>
                      <a:pt x="300" y="148"/>
                      <a:pt x="278" y="169"/>
                      <a:pt x="251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251" y="169"/>
                      <a:pt x="251" y="169"/>
                      <a:pt x="251" y="169"/>
                    </a:cubicBezTo>
                    <a:cubicBezTo>
                      <a:pt x="278" y="169"/>
                      <a:pt x="300" y="148"/>
                      <a:pt x="300" y="121"/>
                    </a:cubicBezTo>
                    <a:cubicBezTo>
                      <a:pt x="300" y="121"/>
                      <a:pt x="300" y="121"/>
                      <a:pt x="300" y="121"/>
                    </a:cubicBezTo>
                    <a:moveTo>
                      <a:pt x="546" y="25"/>
                    </a:moveTo>
                    <a:cubicBezTo>
                      <a:pt x="546" y="56"/>
                      <a:pt x="521" y="82"/>
                      <a:pt x="490" y="82"/>
                    </a:cubicBezTo>
                    <a:cubicBezTo>
                      <a:pt x="471" y="82"/>
                      <a:pt x="455" y="73"/>
                      <a:pt x="445" y="59"/>
                    </a:cubicBezTo>
                    <a:cubicBezTo>
                      <a:pt x="300" y="59"/>
                      <a:pt x="300" y="59"/>
                      <a:pt x="300" y="59"/>
                    </a:cubicBezTo>
                    <a:cubicBezTo>
                      <a:pt x="445" y="59"/>
                      <a:pt x="445" y="59"/>
                      <a:pt x="445" y="59"/>
                    </a:cubicBezTo>
                    <a:cubicBezTo>
                      <a:pt x="455" y="73"/>
                      <a:pt x="471" y="82"/>
                      <a:pt x="490" y="82"/>
                    </a:cubicBezTo>
                    <a:cubicBezTo>
                      <a:pt x="521" y="82"/>
                      <a:pt x="546" y="56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moveTo>
                      <a:pt x="546" y="25"/>
                    </a:move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moveTo>
                      <a:pt x="546" y="25"/>
                    </a:moveTo>
                    <a:cubicBezTo>
                      <a:pt x="546" y="25"/>
                      <a:pt x="546" y="25"/>
                      <a:pt x="546" y="25"/>
                    </a:cubicBezTo>
                    <a:cubicBezTo>
                      <a:pt x="546" y="25"/>
                      <a:pt x="546" y="25"/>
                      <a:pt x="546" y="25"/>
                    </a:cubicBezTo>
                    <a:moveTo>
                      <a:pt x="546" y="24"/>
                    </a:move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moveTo>
                      <a:pt x="546" y="24"/>
                    </a:move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moveTo>
                      <a:pt x="546" y="24"/>
                    </a:move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moveTo>
                      <a:pt x="546" y="24"/>
                    </a:moveTo>
                    <a:cubicBezTo>
                      <a:pt x="546" y="24"/>
                      <a:pt x="546" y="24"/>
                      <a:pt x="546" y="24"/>
                    </a:cubicBezTo>
                    <a:cubicBezTo>
                      <a:pt x="546" y="24"/>
                      <a:pt x="546" y="24"/>
                      <a:pt x="546" y="24"/>
                    </a:cubicBezTo>
                    <a:moveTo>
                      <a:pt x="540" y="0"/>
                    </a:moveTo>
                    <a:cubicBezTo>
                      <a:pt x="544" y="7"/>
                      <a:pt x="546" y="15"/>
                      <a:pt x="546" y="24"/>
                    </a:cubicBezTo>
                    <a:cubicBezTo>
                      <a:pt x="546" y="15"/>
                      <a:pt x="544" y="7"/>
                      <a:pt x="540" y="0"/>
                    </a:cubicBezTo>
                    <a:cubicBezTo>
                      <a:pt x="540" y="0"/>
                      <a:pt x="540" y="0"/>
                      <a:pt x="54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Freeform 41"/>
              <p:cNvSpPr>
                <a:spLocks/>
              </p:cNvSpPr>
              <p:nvPr/>
            </p:nvSpPr>
            <p:spPr bwMode="auto">
              <a:xfrm>
                <a:off x="1106487" y="5668031"/>
                <a:ext cx="2116138" cy="246063"/>
              </a:xfrm>
              <a:custGeom>
                <a:avLst/>
                <a:gdLst>
                  <a:gd name="T0" fmla="*/ 0 w 481"/>
                  <a:gd name="T1" fmla="*/ 0 h 56"/>
                  <a:gd name="T2" fmla="*/ 114 w 481"/>
                  <a:gd name="T3" fmla="*/ 56 h 56"/>
                  <a:gd name="T4" fmla="*/ 481 w 481"/>
                  <a:gd name="T5" fmla="*/ 56 h 56"/>
                  <a:gd name="T6" fmla="*/ 481 w 481"/>
                  <a:gd name="T7" fmla="*/ 30 h 56"/>
                  <a:gd name="T8" fmla="*/ 89 w 481"/>
                  <a:gd name="T9" fmla="*/ 30 h 56"/>
                  <a:gd name="T10" fmla="*/ 89 w 481"/>
                  <a:gd name="T11" fmla="*/ 30 h 56"/>
                  <a:gd name="T12" fmla="*/ 89 w 481"/>
                  <a:gd name="T13" fmla="*/ 30 h 56"/>
                  <a:gd name="T14" fmla="*/ 88 w 481"/>
                  <a:gd name="T15" fmla="*/ 30 h 56"/>
                  <a:gd name="T16" fmla="*/ 88 w 481"/>
                  <a:gd name="T17" fmla="*/ 30 h 56"/>
                  <a:gd name="T18" fmla="*/ 88 w 481"/>
                  <a:gd name="T19" fmla="*/ 30 h 56"/>
                  <a:gd name="T20" fmla="*/ 88 w 481"/>
                  <a:gd name="T21" fmla="*/ 30 h 56"/>
                  <a:gd name="T22" fmla="*/ 88 w 481"/>
                  <a:gd name="T23" fmla="*/ 30 h 56"/>
                  <a:gd name="T24" fmla="*/ 88 w 481"/>
                  <a:gd name="T25" fmla="*/ 30 h 56"/>
                  <a:gd name="T26" fmla="*/ 88 w 481"/>
                  <a:gd name="T27" fmla="*/ 30 h 56"/>
                  <a:gd name="T28" fmla="*/ 88 w 481"/>
                  <a:gd name="T29" fmla="*/ 30 h 56"/>
                  <a:gd name="T30" fmla="*/ 88 w 481"/>
                  <a:gd name="T31" fmla="*/ 30 h 56"/>
                  <a:gd name="T32" fmla="*/ 88 w 481"/>
                  <a:gd name="T33" fmla="*/ 30 h 56"/>
                  <a:gd name="T34" fmla="*/ 87 w 481"/>
                  <a:gd name="T35" fmla="*/ 30 h 56"/>
                  <a:gd name="T36" fmla="*/ 87 w 481"/>
                  <a:gd name="T37" fmla="*/ 30 h 56"/>
                  <a:gd name="T38" fmla="*/ 87 w 481"/>
                  <a:gd name="T39" fmla="*/ 30 h 56"/>
                  <a:gd name="T40" fmla="*/ 87 w 481"/>
                  <a:gd name="T41" fmla="*/ 30 h 56"/>
                  <a:gd name="T42" fmla="*/ 87 w 481"/>
                  <a:gd name="T43" fmla="*/ 30 h 56"/>
                  <a:gd name="T44" fmla="*/ 87 w 481"/>
                  <a:gd name="T45" fmla="*/ 30 h 56"/>
                  <a:gd name="T46" fmla="*/ 87 w 481"/>
                  <a:gd name="T47" fmla="*/ 30 h 56"/>
                  <a:gd name="T48" fmla="*/ 87 w 481"/>
                  <a:gd name="T49" fmla="*/ 30 h 56"/>
                  <a:gd name="T50" fmla="*/ 0 w 481"/>
                  <a:gd name="T5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1" h="56">
                    <a:moveTo>
                      <a:pt x="0" y="0"/>
                    </a:moveTo>
                    <a:cubicBezTo>
                      <a:pt x="26" y="34"/>
                      <a:pt x="68" y="56"/>
                      <a:pt x="114" y="56"/>
                    </a:cubicBezTo>
                    <a:cubicBezTo>
                      <a:pt x="481" y="56"/>
                      <a:pt x="481" y="56"/>
                      <a:pt x="481" y="56"/>
                    </a:cubicBezTo>
                    <a:cubicBezTo>
                      <a:pt x="481" y="30"/>
                      <a:pt x="481" y="30"/>
                      <a:pt x="481" y="30"/>
                    </a:cubicBezTo>
                    <a:cubicBezTo>
                      <a:pt x="89" y="30"/>
                      <a:pt x="89" y="30"/>
                      <a:pt x="89" y="30"/>
                    </a:cubicBezTo>
                    <a:cubicBezTo>
                      <a:pt x="89" y="30"/>
                      <a:pt x="89" y="30"/>
                      <a:pt x="89" y="30"/>
                    </a:cubicBezTo>
                    <a:cubicBezTo>
                      <a:pt x="89" y="30"/>
                      <a:pt x="89" y="30"/>
                      <a:pt x="89" y="30"/>
                    </a:cubicBezTo>
                    <a:cubicBezTo>
                      <a:pt x="89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54" y="30"/>
                      <a:pt x="24" y="18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9" name="Freeform 42"/>
              <p:cNvSpPr>
                <a:spLocks noEditPoints="1"/>
              </p:cNvSpPr>
              <p:nvPr/>
            </p:nvSpPr>
            <p:spPr bwMode="auto">
              <a:xfrm>
                <a:off x="1106487" y="5664856"/>
                <a:ext cx="2116138" cy="249238"/>
              </a:xfrm>
              <a:custGeom>
                <a:avLst/>
                <a:gdLst>
                  <a:gd name="T0" fmla="*/ 481 w 481"/>
                  <a:gd name="T1" fmla="*/ 31 h 57"/>
                  <a:gd name="T2" fmla="*/ 89 w 481"/>
                  <a:gd name="T3" fmla="*/ 31 h 57"/>
                  <a:gd name="T4" fmla="*/ 89 w 481"/>
                  <a:gd name="T5" fmla="*/ 31 h 57"/>
                  <a:gd name="T6" fmla="*/ 89 w 481"/>
                  <a:gd name="T7" fmla="*/ 31 h 57"/>
                  <a:gd name="T8" fmla="*/ 481 w 481"/>
                  <a:gd name="T9" fmla="*/ 31 h 57"/>
                  <a:gd name="T10" fmla="*/ 481 w 481"/>
                  <a:gd name="T11" fmla="*/ 57 h 57"/>
                  <a:gd name="T12" fmla="*/ 481 w 481"/>
                  <a:gd name="T13" fmla="*/ 31 h 57"/>
                  <a:gd name="T14" fmla="*/ 88 w 481"/>
                  <a:gd name="T15" fmla="*/ 31 h 57"/>
                  <a:gd name="T16" fmla="*/ 89 w 481"/>
                  <a:gd name="T17" fmla="*/ 31 h 57"/>
                  <a:gd name="T18" fmla="*/ 88 w 481"/>
                  <a:gd name="T19" fmla="*/ 31 h 57"/>
                  <a:gd name="T20" fmla="*/ 88 w 481"/>
                  <a:gd name="T21" fmla="*/ 31 h 57"/>
                  <a:gd name="T22" fmla="*/ 88 w 481"/>
                  <a:gd name="T23" fmla="*/ 31 h 57"/>
                  <a:gd name="T24" fmla="*/ 88 w 481"/>
                  <a:gd name="T25" fmla="*/ 31 h 57"/>
                  <a:gd name="T26" fmla="*/ 88 w 481"/>
                  <a:gd name="T27" fmla="*/ 31 h 57"/>
                  <a:gd name="T28" fmla="*/ 88 w 481"/>
                  <a:gd name="T29" fmla="*/ 31 h 57"/>
                  <a:gd name="T30" fmla="*/ 88 w 481"/>
                  <a:gd name="T31" fmla="*/ 31 h 57"/>
                  <a:gd name="T32" fmla="*/ 88 w 481"/>
                  <a:gd name="T33" fmla="*/ 31 h 57"/>
                  <a:gd name="T34" fmla="*/ 88 w 481"/>
                  <a:gd name="T35" fmla="*/ 31 h 57"/>
                  <a:gd name="T36" fmla="*/ 88 w 481"/>
                  <a:gd name="T37" fmla="*/ 31 h 57"/>
                  <a:gd name="T38" fmla="*/ 88 w 481"/>
                  <a:gd name="T39" fmla="*/ 31 h 57"/>
                  <a:gd name="T40" fmla="*/ 88 w 481"/>
                  <a:gd name="T41" fmla="*/ 31 h 57"/>
                  <a:gd name="T42" fmla="*/ 88 w 481"/>
                  <a:gd name="T43" fmla="*/ 31 h 57"/>
                  <a:gd name="T44" fmla="*/ 87 w 481"/>
                  <a:gd name="T45" fmla="*/ 31 h 57"/>
                  <a:gd name="T46" fmla="*/ 88 w 481"/>
                  <a:gd name="T47" fmla="*/ 31 h 57"/>
                  <a:gd name="T48" fmla="*/ 87 w 481"/>
                  <a:gd name="T49" fmla="*/ 31 h 57"/>
                  <a:gd name="T50" fmla="*/ 87 w 481"/>
                  <a:gd name="T51" fmla="*/ 31 h 57"/>
                  <a:gd name="T52" fmla="*/ 87 w 481"/>
                  <a:gd name="T53" fmla="*/ 31 h 57"/>
                  <a:gd name="T54" fmla="*/ 87 w 481"/>
                  <a:gd name="T55" fmla="*/ 31 h 57"/>
                  <a:gd name="T56" fmla="*/ 87 w 481"/>
                  <a:gd name="T57" fmla="*/ 31 h 57"/>
                  <a:gd name="T58" fmla="*/ 87 w 481"/>
                  <a:gd name="T59" fmla="*/ 31 h 57"/>
                  <a:gd name="T60" fmla="*/ 87 w 481"/>
                  <a:gd name="T61" fmla="*/ 31 h 57"/>
                  <a:gd name="T62" fmla="*/ 87 w 481"/>
                  <a:gd name="T63" fmla="*/ 31 h 57"/>
                  <a:gd name="T64" fmla="*/ 87 w 481"/>
                  <a:gd name="T65" fmla="*/ 31 h 57"/>
                  <a:gd name="T66" fmla="*/ 87 w 481"/>
                  <a:gd name="T67" fmla="*/ 31 h 57"/>
                  <a:gd name="T68" fmla="*/ 0 w 481"/>
                  <a:gd name="T69" fmla="*/ 0 h 57"/>
                  <a:gd name="T70" fmla="*/ 0 w 481"/>
                  <a:gd name="T71" fmla="*/ 1 h 57"/>
                  <a:gd name="T72" fmla="*/ 87 w 481"/>
                  <a:gd name="T73" fmla="*/ 31 h 57"/>
                  <a:gd name="T74" fmla="*/ 0 w 481"/>
                  <a:gd name="T7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1" h="57">
                    <a:moveTo>
                      <a:pt x="481" y="31"/>
                    </a:moveTo>
                    <a:cubicBezTo>
                      <a:pt x="89" y="31"/>
                      <a:pt x="89" y="31"/>
                      <a:pt x="89" y="31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481" y="31"/>
                      <a:pt x="481" y="31"/>
                      <a:pt x="481" y="31"/>
                    </a:cubicBezTo>
                    <a:cubicBezTo>
                      <a:pt x="481" y="57"/>
                      <a:pt x="481" y="57"/>
                      <a:pt x="481" y="57"/>
                    </a:cubicBezTo>
                    <a:cubicBezTo>
                      <a:pt x="481" y="31"/>
                      <a:pt x="481" y="31"/>
                      <a:pt x="481" y="31"/>
                    </a:cubicBezTo>
                    <a:moveTo>
                      <a:pt x="88" y="31"/>
                    </a:moveTo>
                    <a:cubicBezTo>
                      <a:pt x="88" y="31"/>
                      <a:pt x="89" y="31"/>
                      <a:pt x="89" y="31"/>
                    </a:cubicBezTo>
                    <a:cubicBezTo>
                      <a:pt x="89" y="31"/>
                      <a:pt x="88" y="31"/>
                      <a:pt x="88" y="31"/>
                    </a:cubicBezTo>
                    <a:moveTo>
                      <a:pt x="88" y="31"/>
                    </a:moveTo>
                    <a:cubicBezTo>
                      <a:pt x="88" y="31"/>
                      <a:pt x="88" y="31"/>
                      <a:pt x="88" y="31"/>
                    </a:cubicBezTo>
                    <a:cubicBezTo>
                      <a:pt x="88" y="31"/>
                      <a:pt x="88" y="31"/>
                      <a:pt x="88" y="31"/>
                    </a:cubicBezTo>
                    <a:moveTo>
                      <a:pt x="88" y="31"/>
                    </a:moveTo>
                    <a:cubicBezTo>
                      <a:pt x="88" y="31"/>
                      <a:pt x="88" y="31"/>
                      <a:pt x="88" y="31"/>
                    </a:cubicBezTo>
                    <a:cubicBezTo>
                      <a:pt x="88" y="31"/>
                      <a:pt x="88" y="31"/>
                      <a:pt x="88" y="31"/>
                    </a:cubicBezTo>
                    <a:moveTo>
                      <a:pt x="88" y="31"/>
                    </a:moveTo>
                    <a:cubicBezTo>
                      <a:pt x="88" y="31"/>
                      <a:pt x="88" y="31"/>
                      <a:pt x="88" y="31"/>
                    </a:cubicBezTo>
                    <a:cubicBezTo>
                      <a:pt x="88" y="31"/>
                      <a:pt x="88" y="31"/>
                      <a:pt x="88" y="31"/>
                    </a:cubicBezTo>
                    <a:moveTo>
                      <a:pt x="88" y="31"/>
                    </a:moveTo>
                    <a:cubicBezTo>
                      <a:pt x="88" y="31"/>
                      <a:pt x="88" y="31"/>
                      <a:pt x="88" y="31"/>
                    </a:cubicBezTo>
                    <a:cubicBezTo>
                      <a:pt x="88" y="31"/>
                      <a:pt x="88" y="31"/>
                      <a:pt x="88" y="31"/>
                    </a:cubicBezTo>
                    <a:moveTo>
                      <a:pt x="87" y="31"/>
                    </a:moveTo>
                    <a:cubicBezTo>
                      <a:pt x="87" y="31"/>
                      <a:pt x="88" y="31"/>
                      <a:pt x="88" y="31"/>
                    </a:cubicBezTo>
                    <a:cubicBezTo>
                      <a:pt x="88" y="31"/>
                      <a:pt x="87" y="31"/>
                      <a:pt x="87" y="31"/>
                    </a:cubicBezTo>
                    <a:moveTo>
                      <a:pt x="87" y="31"/>
                    </a:moveTo>
                    <a:cubicBezTo>
                      <a:pt x="87" y="31"/>
                      <a:pt x="87" y="31"/>
                      <a:pt x="87" y="31"/>
                    </a:cubicBezTo>
                    <a:cubicBezTo>
                      <a:pt x="87" y="31"/>
                      <a:pt x="87" y="31"/>
                      <a:pt x="87" y="31"/>
                    </a:cubicBezTo>
                    <a:moveTo>
                      <a:pt x="87" y="31"/>
                    </a:moveTo>
                    <a:cubicBezTo>
                      <a:pt x="87" y="31"/>
                      <a:pt x="87" y="31"/>
                      <a:pt x="87" y="31"/>
                    </a:cubicBezTo>
                    <a:cubicBezTo>
                      <a:pt x="87" y="31"/>
                      <a:pt x="87" y="31"/>
                      <a:pt x="87" y="31"/>
                    </a:cubicBezTo>
                    <a:moveTo>
                      <a:pt x="87" y="31"/>
                    </a:moveTo>
                    <a:cubicBezTo>
                      <a:pt x="87" y="31"/>
                      <a:pt x="87" y="31"/>
                      <a:pt x="87" y="31"/>
                    </a:cubicBezTo>
                    <a:cubicBezTo>
                      <a:pt x="87" y="31"/>
                      <a:pt x="87" y="31"/>
                      <a:pt x="87" y="31"/>
                    </a:cubicBezTo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24" y="19"/>
                      <a:pt x="54" y="31"/>
                      <a:pt x="87" y="31"/>
                    </a:cubicBezTo>
                    <a:cubicBezTo>
                      <a:pt x="54" y="31"/>
                      <a:pt x="24" y="19"/>
                      <a:pt x="0" y="0"/>
                    </a:cubicBezTo>
                  </a:path>
                </a:pathLst>
              </a:custGeom>
              <a:solidFill>
                <a:srgbClr val="C5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0" name="Oval 48"/>
              <p:cNvSpPr>
                <a:spLocks noChangeArrowheads="1"/>
              </p:cNvSpPr>
              <p:nvPr/>
            </p:nvSpPr>
            <p:spPr bwMode="auto">
              <a:xfrm>
                <a:off x="3173412" y="1700868"/>
                <a:ext cx="44450" cy="44450"/>
              </a:xfrm>
              <a:prstGeom prst="ellipse">
                <a:avLst/>
              </a:prstGeom>
              <a:solidFill>
                <a:srgbClr val="EAA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1" name="Oval 49"/>
              <p:cNvSpPr>
                <a:spLocks noChangeArrowheads="1"/>
              </p:cNvSpPr>
              <p:nvPr/>
            </p:nvSpPr>
            <p:spPr bwMode="auto">
              <a:xfrm>
                <a:off x="2139950" y="3663018"/>
                <a:ext cx="44450" cy="42863"/>
              </a:xfrm>
              <a:prstGeom prst="ellipse">
                <a:avLst/>
              </a:pr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2" name="Oval 50"/>
              <p:cNvSpPr>
                <a:spLocks noChangeArrowheads="1"/>
              </p:cNvSpPr>
              <p:nvPr/>
            </p:nvSpPr>
            <p:spPr bwMode="auto">
              <a:xfrm>
                <a:off x="2000250" y="3663018"/>
                <a:ext cx="42863" cy="42863"/>
              </a:xfrm>
              <a:prstGeom prst="ellipse">
                <a:avLst/>
              </a:pr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Oval 51"/>
              <p:cNvSpPr>
                <a:spLocks noChangeArrowheads="1"/>
              </p:cNvSpPr>
              <p:nvPr/>
            </p:nvSpPr>
            <p:spPr bwMode="auto">
              <a:xfrm>
                <a:off x="1854200" y="3663018"/>
                <a:ext cx="44450" cy="42863"/>
              </a:xfrm>
              <a:prstGeom prst="ellipse">
                <a:avLst/>
              </a:prstGeom>
              <a:solidFill>
                <a:srgbClr val="4544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4" name="Oval 52"/>
              <p:cNvSpPr>
                <a:spLocks noChangeArrowheads="1"/>
              </p:cNvSpPr>
              <p:nvPr/>
            </p:nvSpPr>
            <p:spPr bwMode="auto">
              <a:xfrm>
                <a:off x="4722812" y="5642631"/>
                <a:ext cx="42863" cy="42863"/>
              </a:xfrm>
              <a:prstGeom prst="ellipse">
                <a:avLst/>
              </a:pr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Oval 53"/>
              <p:cNvSpPr>
                <a:spLocks noChangeArrowheads="1"/>
              </p:cNvSpPr>
              <p:nvPr/>
            </p:nvSpPr>
            <p:spPr bwMode="auto">
              <a:xfrm>
                <a:off x="4845050" y="5642631"/>
                <a:ext cx="44450" cy="42863"/>
              </a:xfrm>
              <a:prstGeom prst="ellipse">
                <a:avLst/>
              </a:pr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6" name="Oval 54"/>
              <p:cNvSpPr>
                <a:spLocks noChangeArrowheads="1"/>
              </p:cNvSpPr>
              <p:nvPr/>
            </p:nvSpPr>
            <p:spPr bwMode="auto">
              <a:xfrm>
                <a:off x="4964112" y="5642631"/>
                <a:ext cx="44450" cy="42863"/>
              </a:xfrm>
              <a:prstGeom prst="ellipse">
                <a:avLst/>
              </a:pr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7" name="Oval 55"/>
              <p:cNvSpPr>
                <a:spLocks noChangeArrowheads="1"/>
              </p:cNvSpPr>
              <p:nvPr/>
            </p:nvSpPr>
            <p:spPr bwMode="auto">
              <a:xfrm>
                <a:off x="5078412" y="5642631"/>
                <a:ext cx="44450" cy="42863"/>
              </a:xfrm>
              <a:prstGeom prst="ellipse">
                <a:avLst/>
              </a:pr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8" name="Oval 56"/>
              <p:cNvSpPr>
                <a:spLocks noChangeArrowheads="1"/>
              </p:cNvSpPr>
              <p:nvPr/>
            </p:nvSpPr>
            <p:spPr bwMode="auto">
              <a:xfrm>
                <a:off x="5192712" y="5642631"/>
                <a:ext cx="44450" cy="42863"/>
              </a:xfrm>
              <a:prstGeom prst="ellipse">
                <a:avLst/>
              </a:prstGeom>
              <a:solidFill>
                <a:srgbClr val="9651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9" name="Oval 57"/>
              <p:cNvSpPr>
                <a:spLocks noChangeArrowheads="1"/>
              </p:cNvSpPr>
              <p:nvPr/>
            </p:nvSpPr>
            <p:spPr bwMode="auto">
              <a:xfrm>
                <a:off x="1019175" y="5320368"/>
                <a:ext cx="42863" cy="44450"/>
              </a:xfrm>
              <a:prstGeom prst="ellipse">
                <a:avLst/>
              </a:prstGeom>
              <a:solidFill>
                <a:srgbClr val="4F9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0" name="Oval 58"/>
              <p:cNvSpPr>
                <a:spLocks noChangeArrowheads="1"/>
              </p:cNvSpPr>
              <p:nvPr/>
            </p:nvSpPr>
            <p:spPr bwMode="auto">
              <a:xfrm>
                <a:off x="1101725" y="5452131"/>
                <a:ext cx="44450" cy="49213"/>
              </a:xfrm>
              <a:prstGeom prst="ellipse">
                <a:avLst/>
              </a:prstGeom>
              <a:solidFill>
                <a:srgbClr val="4F9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1" name="Oval 59"/>
              <p:cNvSpPr>
                <a:spLocks noChangeArrowheads="1"/>
              </p:cNvSpPr>
              <p:nvPr/>
            </p:nvSpPr>
            <p:spPr bwMode="auto">
              <a:xfrm>
                <a:off x="1212850" y="5563256"/>
                <a:ext cx="42863" cy="42863"/>
              </a:xfrm>
              <a:prstGeom prst="ellipse">
                <a:avLst/>
              </a:prstGeom>
              <a:solidFill>
                <a:srgbClr val="4F9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2" name="Oval 60"/>
              <p:cNvSpPr>
                <a:spLocks noChangeArrowheads="1"/>
              </p:cNvSpPr>
              <p:nvPr/>
            </p:nvSpPr>
            <p:spPr bwMode="auto">
              <a:xfrm>
                <a:off x="1349375" y="5633106"/>
                <a:ext cx="42863" cy="44450"/>
              </a:xfrm>
              <a:prstGeom prst="ellipse">
                <a:avLst/>
              </a:prstGeom>
              <a:solidFill>
                <a:srgbClr val="4F9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3" name="Oval 61"/>
              <p:cNvSpPr>
                <a:spLocks noChangeArrowheads="1"/>
              </p:cNvSpPr>
              <p:nvPr/>
            </p:nvSpPr>
            <p:spPr bwMode="auto">
              <a:xfrm>
                <a:off x="4792662" y="3328056"/>
                <a:ext cx="44450" cy="44450"/>
              </a:xfrm>
              <a:prstGeom prst="ellipse">
                <a:avLst/>
              </a:prstGeom>
              <a:solidFill>
                <a:srgbClr val="D167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Oval 62"/>
              <p:cNvSpPr>
                <a:spLocks noChangeArrowheads="1"/>
              </p:cNvSpPr>
              <p:nvPr/>
            </p:nvSpPr>
            <p:spPr bwMode="auto">
              <a:xfrm>
                <a:off x="4718050" y="3459818"/>
                <a:ext cx="47625" cy="44450"/>
              </a:xfrm>
              <a:prstGeom prst="ellipse">
                <a:avLst/>
              </a:prstGeom>
              <a:solidFill>
                <a:srgbClr val="D167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2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5" name="文本框 94"/>
              <p:cNvSpPr txBox="1"/>
              <p:nvPr/>
            </p:nvSpPr>
            <p:spPr>
              <a:xfrm>
                <a:off x="2700217" y="708882"/>
                <a:ext cx="548349" cy="4363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haroni" panose="02010803020104030203" pitchFamily="2" charset="-79"/>
                  </a:rPr>
                  <a:t>01</a:t>
                </a:r>
              </a:p>
            </p:txBody>
          </p:sp>
          <p:sp>
            <p:nvSpPr>
              <p:cNvPr id="96" name="文本框 95"/>
              <p:cNvSpPr txBox="1"/>
              <p:nvPr/>
            </p:nvSpPr>
            <p:spPr>
              <a:xfrm>
                <a:off x="3012076" y="697568"/>
                <a:ext cx="1980192" cy="412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r">
                  <a:defRPr sz="1600">
                    <a:solidFill>
                      <a:srgbClr val="605E5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</a:lstStyle>
              <a:p>
                <a:pPr algn="l"/>
                <a:r>
                  <a:rPr lang="zh-CN" altLang="en-US" sz="11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技术赋能</a:t>
                </a:r>
              </a:p>
            </p:txBody>
          </p:sp>
          <p:sp>
            <p:nvSpPr>
              <p:cNvPr id="97" name="文本框 96"/>
              <p:cNvSpPr txBox="1"/>
              <p:nvPr/>
            </p:nvSpPr>
            <p:spPr>
              <a:xfrm>
                <a:off x="3686908" y="1920747"/>
                <a:ext cx="548349" cy="4363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haroni" panose="02010803020104030203" pitchFamily="2" charset="-79"/>
                  </a:rPr>
                  <a:t>02</a:t>
                </a:r>
              </a:p>
            </p:txBody>
          </p:sp>
          <p:sp>
            <p:nvSpPr>
              <p:cNvPr id="98" name="文本框 97"/>
              <p:cNvSpPr txBox="1"/>
              <p:nvPr/>
            </p:nvSpPr>
            <p:spPr>
              <a:xfrm>
                <a:off x="2209810" y="2262311"/>
                <a:ext cx="1947365" cy="412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1100" dirty="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ahoma" panose="020B0604030504040204" pitchFamily="34" charset="0"/>
                  </a:rPr>
                  <a:t>产品赋能</a:t>
                </a:r>
              </a:p>
            </p:txBody>
          </p:sp>
          <p:sp>
            <p:nvSpPr>
              <p:cNvPr id="99" name="文本框 98"/>
              <p:cNvSpPr txBox="1"/>
              <p:nvPr/>
            </p:nvSpPr>
            <p:spPr>
              <a:xfrm>
                <a:off x="1745895" y="4231004"/>
                <a:ext cx="548349" cy="4363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haroni" panose="02010803020104030203" pitchFamily="2" charset="-79"/>
                  </a:rPr>
                  <a:t>04</a:t>
                </a:r>
              </a:p>
            </p:txBody>
          </p:sp>
          <p:sp>
            <p:nvSpPr>
              <p:cNvPr id="100" name="文本框 99"/>
              <p:cNvSpPr txBox="1"/>
              <p:nvPr/>
            </p:nvSpPr>
            <p:spPr>
              <a:xfrm>
                <a:off x="1746227" y="4588820"/>
                <a:ext cx="1657945" cy="412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ahoma" panose="020B0604030504040204" pitchFamily="34" charset="0"/>
                  </a:rPr>
                  <a:t>方案赋能</a:t>
                </a:r>
              </a:p>
            </p:txBody>
          </p:sp>
          <p:sp>
            <p:nvSpPr>
              <p:cNvPr id="101" name="文本框 100"/>
              <p:cNvSpPr txBox="1"/>
              <p:nvPr/>
            </p:nvSpPr>
            <p:spPr>
              <a:xfrm>
                <a:off x="2711330" y="5795906"/>
                <a:ext cx="548349" cy="4363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haroni" panose="02010803020104030203" pitchFamily="2" charset="-79"/>
                  </a:rPr>
                  <a:t>05</a:t>
                </a:r>
              </a:p>
            </p:txBody>
          </p:sp>
          <p:sp>
            <p:nvSpPr>
              <p:cNvPr id="102" name="文本框 101"/>
              <p:cNvSpPr txBox="1"/>
              <p:nvPr/>
            </p:nvSpPr>
            <p:spPr>
              <a:xfrm>
                <a:off x="1605067" y="6124677"/>
                <a:ext cx="1685696" cy="412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11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ahoma" panose="020B0604030504040204" pitchFamily="34" charset="0"/>
                  </a:rPr>
                  <a:t>网络安全赋能</a:t>
                </a:r>
              </a:p>
            </p:txBody>
          </p:sp>
          <p:sp>
            <p:nvSpPr>
              <p:cNvPr id="103" name="文本框 102"/>
              <p:cNvSpPr txBox="1"/>
              <p:nvPr/>
            </p:nvSpPr>
            <p:spPr>
              <a:xfrm>
                <a:off x="1767309" y="2604916"/>
                <a:ext cx="548349" cy="4363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haroni" panose="02010803020104030203" pitchFamily="2" charset="-79"/>
                  </a:rPr>
                  <a:t>03</a:t>
                </a:r>
              </a:p>
            </p:txBody>
          </p:sp>
          <p:sp>
            <p:nvSpPr>
              <p:cNvPr id="104" name="文本框 103"/>
              <p:cNvSpPr txBox="1"/>
              <p:nvPr/>
            </p:nvSpPr>
            <p:spPr>
              <a:xfrm>
                <a:off x="759796" y="2921264"/>
                <a:ext cx="1578590" cy="412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1100" dirty="0">
                    <a:solidFill>
                      <a:srgbClr val="605E5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ahoma" panose="020B0604030504040204" pitchFamily="34" charset="0"/>
                  </a:rPr>
                  <a:t>应用赋能</a:t>
                </a:r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91383" y="3442766"/>
              <a:ext cx="510729" cy="457409"/>
              <a:chOff x="10699750" y="2222500"/>
              <a:chExt cx="368300" cy="320675"/>
            </a:xfrm>
            <a:solidFill>
              <a:schemeClr val="bg1"/>
            </a:solidFill>
          </p:grpSpPr>
          <p:sp>
            <p:nvSpPr>
              <p:cNvPr id="106" name="Freeform 108"/>
              <p:cNvSpPr>
                <a:spLocks noEditPoints="1"/>
              </p:cNvSpPr>
              <p:nvPr/>
            </p:nvSpPr>
            <p:spPr bwMode="auto">
              <a:xfrm>
                <a:off x="10820400" y="2295525"/>
                <a:ext cx="247650" cy="247650"/>
              </a:xfrm>
              <a:custGeom>
                <a:avLst/>
                <a:gdLst/>
                <a:ahLst/>
                <a:cxnLst>
                  <a:cxn ang="0">
                    <a:pos x="20" y="44"/>
                  </a:cxn>
                  <a:cxn ang="0">
                    <a:pos x="10" y="52"/>
                  </a:cxn>
                  <a:cxn ang="0">
                    <a:pos x="0" y="58"/>
                  </a:cxn>
                  <a:cxn ang="0">
                    <a:pos x="0" y="68"/>
                  </a:cxn>
                  <a:cxn ang="0">
                    <a:pos x="8" y="74"/>
                  </a:cxn>
                  <a:cxn ang="0">
                    <a:pos x="10" y="86"/>
                  </a:cxn>
                  <a:cxn ang="0">
                    <a:pos x="2" y="94"/>
                  </a:cxn>
                  <a:cxn ang="0">
                    <a:pos x="4" y="106"/>
                  </a:cxn>
                  <a:cxn ang="0">
                    <a:pos x="12" y="110"/>
                  </a:cxn>
                  <a:cxn ang="0">
                    <a:pos x="22" y="118"/>
                  </a:cxn>
                  <a:cxn ang="0">
                    <a:pos x="20" y="128"/>
                  </a:cxn>
                  <a:cxn ang="0">
                    <a:pos x="24" y="138"/>
                  </a:cxn>
                  <a:cxn ang="0">
                    <a:pos x="36" y="138"/>
                  </a:cxn>
                  <a:cxn ang="0">
                    <a:pos x="50" y="136"/>
                  </a:cxn>
                  <a:cxn ang="0">
                    <a:pos x="52" y="146"/>
                  </a:cxn>
                  <a:cxn ang="0">
                    <a:pos x="60" y="156"/>
                  </a:cxn>
                  <a:cxn ang="0">
                    <a:pos x="72" y="154"/>
                  </a:cxn>
                  <a:cxn ang="0">
                    <a:pos x="78" y="146"/>
                  </a:cxn>
                  <a:cxn ang="0">
                    <a:pos x="90" y="150"/>
                  </a:cxn>
                  <a:cxn ang="0">
                    <a:pos x="98" y="154"/>
                  </a:cxn>
                  <a:cxn ang="0">
                    <a:pos x="108" y="150"/>
                  </a:cxn>
                  <a:cxn ang="0">
                    <a:pos x="110" y="140"/>
                  </a:cxn>
                  <a:cxn ang="0">
                    <a:pos x="120" y="132"/>
                  </a:cxn>
                  <a:cxn ang="0">
                    <a:pos x="130" y="136"/>
                  </a:cxn>
                  <a:cxn ang="0">
                    <a:pos x="140" y="128"/>
                  </a:cxn>
                  <a:cxn ang="0">
                    <a:pos x="138" y="118"/>
                  </a:cxn>
                  <a:cxn ang="0">
                    <a:pos x="136" y="106"/>
                  </a:cxn>
                  <a:cxn ang="0">
                    <a:pos x="150" y="104"/>
                  </a:cxn>
                  <a:cxn ang="0">
                    <a:pos x="156" y="94"/>
                  </a:cxn>
                  <a:cxn ang="0">
                    <a:pos x="150" y="82"/>
                  </a:cxn>
                  <a:cxn ang="0">
                    <a:pos x="142" y="72"/>
                  </a:cxn>
                  <a:cxn ang="0">
                    <a:pos x="150" y="66"/>
                  </a:cxn>
                  <a:cxn ang="0">
                    <a:pos x="154" y="54"/>
                  </a:cxn>
                  <a:cxn ang="0">
                    <a:pos x="146" y="46"/>
                  </a:cxn>
                  <a:cxn ang="0">
                    <a:pos x="136" y="44"/>
                  </a:cxn>
                  <a:cxn ang="0">
                    <a:pos x="134" y="32"/>
                  </a:cxn>
                  <a:cxn ang="0">
                    <a:pos x="134" y="22"/>
                  </a:cxn>
                  <a:cxn ang="0">
                    <a:pos x="124" y="16"/>
                  </a:cxn>
                  <a:cxn ang="0">
                    <a:pos x="116" y="18"/>
                  </a:cxn>
                  <a:cxn ang="0">
                    <a:pos x="104" y="16"/>
                  </a:cxn>
                  <a:cxn ang="0">
                    <a:pos x="102" y="4"/>
                  </a:cxn>
                  <a:cxn ang="0">
                    <a:pos x="90" y="0"/>
                  </a:cxn>
                  <a:cxn ang="0">
                    <a:pos x="82" y="4"/>
                  </a:cxn>
                  <a:cxn ang="0">
                    <a:pos x="72" y="12"/>
                  </a:cxn>
                  <a:cxn ang="0">
                    <a:pos x="64" y="4"/>
                  </a:cxn>
                  <a:cxn ang="0">
                    <a:pos x="54" y="2"/>
                  </a:cxn>
                  <a:cxn ang="0">
                    <a:pos x="46" y="12"/>
                  </a:cxn>
                  <a:cxn ang="0">
                    <a:pos x="40" y="24"/>
                  </a:cxn>
                  <a:cxn ang="0">
                    <a:pos x="30" y="22"/>
                  </a:cxn>
                  <a:cxn ang="0">
                    <a:pos x="18" y="24"/>
                  </a:cxn>
                  <a:cxn ang="0">
                    <a:pos x="16" y="34"/>
                  </a:cxn>
                  <a:cxn ang="0">
                    <a:pos x="64" y="34"/>
                  </a:cxn>
                  <a:cxn ang="0">
                    <a:pos x="98" y="36"/>
                  </a:cxn>
                  <a:cxn ang="0">
                    <a:pos x="122" y="64"/>
                  </a:cxn>
                  <a:cxn ang="0">
                    <a:pos x="122" y="90"/>
                  </a:cxn>
                  <a:cxn ang="0">
                    <a:pos x="100" y="118"/>
                  </a:cxn>
                  <a:cxn ang="0">
                    <a:pos x="74" y="124"/>
                  </a:cxn>
                  <a:cxn ang="0">
                    <a:pos x="42" y="108"/>
                  </a:cxn>
                  <a:cxn ang="0">
                    <a:pos x="32" y="82"/>
                  </a:cxn>
                  <a:cxn ang="0">
                    <a:pos x="42" y="50"/>
                  </a:cxn>
                  <a:cxn ang="0">
                    <a:pos x="64" y="34"/>
                  </a:cxn>
                </a:cxnLst>
                <a:rect l="0" t="0" r="r" b="b"/>
                <a:pathLst>
                  <a:path w="156" h="156">
                    <a:moveTo>
                      <a:pt x="16" y="36"/>
                    </a:moveTo>
                    <a:lnTo>
                      <a:pt x="16" y="36"/>
                    </a:lnTo>
                    <a:lnTo>
                      <a:pt x="18" y="40"/>
                    </a:lnTo>
                    <a:lnTo>
                      <a:pt x="2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2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74"/>
                    </a:lnTo>
                    <a:lnTo>
                      <a:pt x="10" y="78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0" y="86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0" y="98"/>
                    </a:lnTo>
                    <a:lnTo>
                      <a:pt x="2" y="102"/>
                    </a:lnTo>
                    <a:lnTo>
                      <a:pt x="2" y="102"/>
                    </a:lnTo>
                    <a:lnTo>
                      <a:pt x="4" y="106"/>
                    </a:lnTo>
                    <a:lnTo>
                      <a:pt x="6" y="108"/>
                    </a:lnTo>
                    <a:lnTo>
                      <a:pt x="8" y="110"/>
                    </a:lnTo>
                    <a:lnTo>
                      <a:pt x="12" y="110"/>
                    </a:lnTo>
                    <a:lnTo>
                      <a:pt x="12" y="110"/>
                    </a:lnTo>
                    <a:lnTo>
                      <a:pt x="18" y="110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8"/>
                    </a:lnTo>
                    <a:lnTo>
                      <a:pt x="22" y="122"/>
                    </a:lnTo>
                    <a:lnTo>
                      <a:pt x="22" y="124"/>
                    </a:lnTo>
                    <a:lnTo>
                      <a:pt x="22" y="124"/>
                    </a:lnTo>
                    <a:lnTo>
                      <a:pt x="20" y="128"/>
                    </a:lnTo>
                    <a:lnTo>
                      <a:pt x="20" y="130"/>
                    </a:lnTo>
                    <a:lnTo>
                      <a:pt x="22" y="134"/>
                    </a:lnTo>
                    <a:lnTo>
                      <a:pt x="24" y="138"/>
                    </a:lnTo>
                    <a:lnTo>
                      <a:pt x="24" y="138"/>
                    </a:lnTo>
                    <a:lnTo>
                      <a:pt x="28" y="140"/>
                    </a:lnTo>
                    <a:lnTo>
                      <a:pt x="30" y="140"/>
                    </a:lnTo>
                    <a:lnTo>
                      <a:pt x="34" y="140"/>
                    </a:lnTo>
                    <a:lnTo>
                      <a:pt x="36" y="138"/>
                    </a:lnTo>
                    <a:lnTo>
                      <a:pt x="36" y="138"/>
                    </a:lnTo>
                    <a:lnTo>
                      <a:pt x="40" y="136"/>
                    </a:lnTo>
                    <a:lnTo>
                      <a:pt x="44" y="136"/>
                    </a:lnTo>
                    <a:lnTo>
                      <a:pt x="50" y="136"/>
                    </a:lnTo>
                    <a:lnTo>
                      <a:pt x="50" y="136"/>
                    </a:lnTo>
                    <a:lnTo>
                      <a:pt x="52" y="140"/>
                    </a:lnTo>
                    <a:lnTo>
                      <a:pt x="52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54" y="152"/>
                    </a:lnTo>
                    <a:lnTo>
                      <a:pt x="56" y="154"/>
                    </a:lnTo>
                    <a:lnTo>
                      <a:pt x="6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8" y="156"/>
                    </a:lnTo>
                    <a:lnTo>
                      <a:pt x="72" y="154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4" y="148"/>
                    </a:lnTo>
                    <a:lnTo>
                      <a:pt x="78" y="146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6" y="144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2" y="152"/>
                    </a:lnTo>
                    <a:lnTo>
                      <a:pt x="94" y="154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2" y="154"/>
                    </a:lnTo>
                    <a:lnTo>
                      <a:pt x="106" y="152"/>
                    </a:lnTo>
                    <a:lnTo>
                      <a:pt x="108" y="150"/>
                    </a:lnTo>
                    <a:lnTo>
                      <a:pt x="110" y="146"/>
                    </a:lnTo>
                    <a:lnTo>
                      <a:pt x="110" y="144"/>
                    </a:lnTo>
                    <a:lnTo>
                      <a:pt x="110" y="144"/>
                    </a:lnTo>
                    <a:lnTo>
                      <a:pt x="110" y="140"/>
                    </a:lnTo>
                    <a:lnTo>
                      <a:pt x="112" y="136"/>
                    </a:lnTo>
                    <a:lnTo>
                      <a:pt x="114" y="132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6" y="136"/>
                    </a:lnTo>
                    <a:lnTo>
                      <a:pt x="130" y="136"/>
                    </a:lnTo>
                    <a:lnTo>
                      <a:pt x="134" y="134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40" y="128"/>
                    </a:lnTo>
                    <a:lnTo>
                      <a:pt x="140" y="124"/>
                    </a:lnTo>
                    <a:lnTo>
                      <a:pt x="140" y="122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6" y="116"/>
                    </a:lnTo>
                    <a:lnTo>
                      <a:pt x="136" y="112"/>
                    </a:lnTo>
                    <a:lnTo>
                      <a:pt x="136" y="106"/>
                    </a:lnTo>
                    <a:lnTo>
                      <a:pt x="136" y="106"/>
                    </a:lnTo>
                    <a:lnTo>
                      <a:pt x="140" y="104"/>
                    </a:lnTo>
                    <a:lnTo>
                      <a:pt x="146" y="104"/>
                    </a:lnTo>
                    <a:lnTo>
                      <a:pt x="146" y="104"/>
                    </a:lnTo>
                    <a:lnTo>
                      <a:pt x="150" y="104"/>
                    </a:lnTo>
                    <a:lnTo>
                      <a:pt x="152" y="102"/>
                    </a:lnTo>
                    <a:lnTo>
                      <a:pt x="154" y="98"/>
                    </a:lnTo>
                    <a:lnTo>
                      <a:pt x="156" y="94"/>
                    </a:lnTo>
                    <a:lnTo>
                      <a:pt x="156" y="94"/>
                    </a:lnTo>
                    <a:lnTo>
                      <a:pt x="156" y="90"/>
                    </a:lnTo>
                    <a:lnTo>
                      <a:pt x="156" y="86"/>
                    </a:lnTo>
                    <a:lnTo>
                      <a:pt x="154" y="84"/>
                    </a:lnTo>
                    <a:lnTo>
                      <a:pt x="150" y="82"/>
                    </a:lnTo>
                    <a:lnTo>
                      <a:pt x="150" y="82"/>
                    </a:lnTo>
                    <a:lnTo>
                      <a:pt x="148" y="82"/>
                    </a:lnTo>
                    <a:lnTo>
                      <a:pt x="146" y="78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4" y="68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2" y="64"/>
                    </a:lnTo>
                    <a:lnTo>
                      <a:pt x="154" y="62"/>
                    </a:lnTo>
                    <a:lnTo>
                      <a:pt x="154" y="58"/>
                    </a:lnTo>
                    <a:lnTo>
                      <a:pt x="154" y="54"/>
                    </a:lnTo>
                    <a:lnTo>
                      <a:pt x="154" y="54"/>
                    </a:lnTo>
                    <a:lnTo>
                      <a:pt x="152" y="50"/>
                    </a:lnTo>
                    <a:lnTo>
                      <a:pt x="150" y="46"/>
                    </a:lnTo>
                    <a:lnTo>
                      <a:pt x="146" y="46"/>
                    </a:lnTo>
                    <a:lnTo>
                      <a:pt x="144" y="46"/>
                    </a:lnTo>
                    <a:lnTo>
                      <a:pt x="144" y="46"/>
                    </a:lnTo>
                    <a:lnTo>
                      <a:pt x="140" y="46"/>
                    </a:lnTo>
                    <a:lnTo>
                      <a:pt x="136" y="44"/>
                    </a:lnTo>
                    <a:lnTo>
                      <a:pt x="132" y="40"/>
                    </a:lnTo>
                    <a:lnTo>
                      <a:pt x="132" y="40"/>
                    </a:lnTo>
                    <a:lnTo>
                      <a:pt x="132" y="36"/>
                    </a:lnTo>
                    <a:lnTo>
                      <a:pt x="134" y="32"/>
                    </a:lnTo>
                    <a:lnTo>
                      <a:pt x="134" y="32"/>
                    </a:lnTo>
                    <a:lnTo>
                      <a:pt x="136" y="28"/>
                    </a:lnTo>
                    <a:lnTo>
                      <a:pt x="136" y="26"/>
                    </a:lnTo>
                    <a:lnTo>
                      <a:pt x="134" y="22"/>
                    </a:lnTo>
                    <a:lnTo>
                      <a:pt x="132" y="18"/>
                    </a:lnTo>
                    <a:lnTo>
                      <a:pt x="132" y="18"/>
                    </a:lnTo>
                    <a:lnTo>
                      <a:pt x="128" y="16"/>
                    </a:lnTo>
                    <a:lnTo>
                      <a:pt x="124" y="16"/>
                    </a:lnTo>
                    <a:lnTo>
                      <a:pt x="120" y="16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6" y="18"/>
                    </a:lnTo>
                    <a:lnTo>
                      <a:pt x="112" y="20"/>
                    </a:lnTo>
                    <a:lnTo>
                      <a:pt x="106" y="18"/>
                    </a:lnTo>
                    <a:lnTo>
                      <a:pt x="106" y="18"/>
                    </a:lnTo>
                    <a:lnTo>
                      <a:pt x="104" y="1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98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0" y="0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0" y="8"/>
                    </a:lnTo>
                    <a:lnTo>
                      <a:pt x="78" y="10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4" y="4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0" y="4"/>
                    </a:lnTo>
                    <a:lnTo>
                      <a:pt x="46" y="6"/>
                    </a:lnTo>
                    <a:lnTo>
                      <a:pt x="46" y="10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6"/>
                    </a:lnTo>
                    <a:lnTo>
                      <a:pt x="44" y="20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2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6" y="28"/>
                    </a:lnTo>
                    <a:lnTo>
                      <a:pt x="14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6" y="36"/>
                    </a:lnTo>
                    <a:close/>
                    <a:moveTo>
                      <a:pt x="64" y="34"/>
                    </a:moveTo>
                    <a:lnTo>
                      <a:pt x="64" y="34"/>
                    </a:lnTo>
                    <a:lnTo>
                      <a:pt x="72" y="32"/>
                    </a:lnTo>
                    <a:lnTo>
                      <a:pt x="82" y="32"/>
                    </a:lnTo>
                    <a:lnTo>
                      <a:pt x="90" y="34"/>
                    </a:lnTo>
                    <a:lnTo>
                      <a:pt x="98" y="36"/>
                    </a:lnTo>
                    <a:lnTo>
                      <a:pt x="106" y="42"/>
                    </a:lnTo>
                    <a:lnTo>
                      <a:pt x="112" y="48"/>
                    </a:lnTo>
                    <a:lnTo>
                      <a:pt x="118" y="56"/>
                    </a:lnTo>
                    <a:lnTo>
                      <a:pt x="122" y="64"/>
                    </a:lnTo>
                    <a:lnTo>
                      <a:pt x="122" y="64"/>
                    </a:lnTo>
                    <a:lnTo>
                      <a:pt x="124" y="72"/>
                    </a:lnTo>
                    <a:lnTo>
                      <a:pt x="124" y="82"/>
                    </a:lnTo>
                    <a:lnTo>
                      <a:pt x="122" y="90"/>
                    </a:lnTo>
                    <a:lnTo>
                      <a:pt x="118" y="98"/>
                    </a:lnTo>
                    <a:lnTo>
                      <a:pt x="114" y="106"/>
                    </a:lnTo>
                    <a:lnTo>
                      <a:pt x="108" y="112"/>
                    </a:lnTo>
                    <a:lnTo>
                      <a:pt x="100" y="118"/>
                    </a:lnTo>
                    <a:lnTo>
                      <a:pt x="92" y="122"/>
                    </a:lnTo>
                    <a:lnTo>
                      <a:pt x="92" y="122"/>
                    </a:lnTo>
                    <a:lnTo>
                      <a:pt x="82" y="124"/>
                    </a:lnTo>
                    <a:lnTo>
                      <a:pt x="74" y="124"/>
                    </a:lnTo>
                    <a:lnTo>
                      <a:pt x="64" y="122"/>
                    </a:lnTo>
                    <a:lnTo>
                      <a:pt x="56" y="118"/>
                    </a:lnTo>
                    <a:lnTo>
                      <a:pt x="50" y="114"/>
                    </a:lnTo>
                    <a:lnTo>
                      <a:pt x="42" y="108"/>
                    </a:lnTo>
                    <a:lnTo>
                      <a:pt x="38" y="100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2" y="82"/>
                    </a:lnTo>
                    <a:lnTo>
                      <a:pt x="32" y="74"/>
                    </a:lnTo>
                    <a:lnTo>
                      <a:pt x="34" y="64"/>
                    </a:lnTo>
                    <a:lnTo>
                      <a:pt x="36" y="56"/>
                    </a:lnTo>
                    <a:lnTo>
                      <a:pt x="42" y="50"/>
                    </a:lnTo>
                    <a:lnTo>
                      <a:pt x="48" y="42"/>
                    </a:lnTo>
                    <a:lnTo>
                      <a:pt x="54" y="38"/>
                    </a:lnTo>
                    <a:lnTo>
                      <a:pt x="64" y="34"/>
                    </a:lnTo>
                    <a:lnTo>
                      <a:pt x="64" y="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7" name="Freeform 109"/>
              <p:cNvSpPr>
                <a:spLocks noEditPoints="1"/>
              </p:cNvSpPr>
              <p:nvPr/>
            </p:nvSpPr>
            <p:spPr bwMode="auto">
              <a:xfrm>
                <a:off x="10699750" y="2222500"/>
                <a:ext cx="158750" cy="158750"/>
              </a:xfrm>
              <a:custGeom>
                <a:avLst/>
                <a:gdLst/>
                <a:ahLst/>
                <a:cxnLst>
                  <a:cxn ang="0">
                    <a:pos x="12" y="28"/>
                  </a:cxn>
                  <a:cxn ang="0">
                    <a:pos x="8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6" y="50"/>
                  </a:cxn>
                  <a:cxn ang="0">
                    <a:pos x="6" y="56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10" y="70"/>
                  </a:cxn>
                  <a:cxn ang="0">
                    <a:pos x="14" y="76"/>
                  </a:cxn>
                  <a:cxn ang="0">
                    <a:pos x="12" y="84"/>
                  </a:cxn>
                  <a:cxn ang="0">
                    <a:pos x="20" y="90"/>
                  </a:cxn>
                  <a:cxn ang="0">
                    <a:pos x="28" y="88"/>
                  </a:cxn>
                  <a:cxn ang="0">
                    <a:pos x="32" y="90"/>
                  </a:cxn>
                  <a:cxn ang="0">
                    <a:pos x="34" y="98"/>
                  </a:cxn>
                  <a:cxn ang="0">
                    <a:pos x="44" y="100"/>
                  </a:cxn>
                  <a:cxn ang="0">
                    <a:pos x="50" y="94"/>
                  </a:cxn>
                  <a:cxn ang="0">
                    <a:pos x="56" y="92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0" y="88"/>
                  </a:cxn>
                  <a:cxn ang="0">
                    <a:pos x="76" y="84"/>
                  </a:cxn>
                  <a:cxn ang="0">
                    <a:pos x="84" y="86"/>
                  </a:cxn>
                  <a:cxn ang="0">
                    <a:pos x="90" y="80"/>
                  </a:cxn>
                  <a:cxn ang="0">
                    <a:pos x="86" y="72"/>
                  </a:cxn>
                  <a:cxn ang="0">
                    <a:pos x="90" y="66"/>
                  </a:cxn>
                  <a:cxn ang="0">
                    <a:pos x="98" y="64"/>
                  </a:cxn>
                  <a:cxn ang="0">
                    <a:pos x="100" y="56"/>
                  </a:cxn>
                  <a:cxn ang="0">
                    <a:pos x="92" y="50"/>
                  </a:cxn>
                  <a:cxn ang="0">
                    <a:pos x="92" y="44"/>
                  </a:cxn>
                  <a:cxn ang="0">
                    <a:pos x="98" y="38"/>
                  </a:cxn>
                  <a:cxn ang="0">
                    <a:pos x="96" y="30"/>
                  </a:cxn>
                  <a:cxn ang="0">
                    <a:pos x="88" y="28"/>
                  </a:cxn>
                  <a:cxn ang="0">
                    <a:pos x="84" y="24"/>
                  </a:cxn>
                  <a:cxn ang="0">
                    <a:pos x="86" y="16"/>
                  </a:cxn>
                  <a:cxn ang="0">
                    <a:pos x="80" y="10"/>
                  </a:cxn>
                  <a:cxn ang="0">
                    <a:pos x="72" y="12"/>
                  </a:cxn>
                  <a:cxn ang="0">
                    <a:pos x="66" y="10"/>
                  </a:cxn>
                  <a:cxn ang="0">
                    <a:pos x="64" y="2"/>
                  </a:cxn>
                  <a:cxn ang="0">
                    <a:pos x="56" y="0"/>
                  </a:cxn>
                  <a:cxn ang="0">
                    <a:pos x="50" y="6"/>
                  </a:cxn>
                  <a:cxn ang="0">
                    <a:pos x="44" y="6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8" y="12"/>
                  </a:cxn>
                  <a:cxn ang="0">
                    <a:pos x="22" y="16"/>
                  </a:cxn>
                  <a:cxn ang="0">
                    <a:pos x="16" y="12"/>
                  </a:cxn>
                  <a:cxn ang="0">
                    <a:pos x="10" y="20"/>
                  </a:cxn>
                  <a:cxn ang="0">
                    <a:pos x="40" y="22"/>
                  </a:cxn>
                  <a:cxn ang="0">
                    <a:pos x="52" y="20"/>
                  </a:cxn>
                  <a:cxn ang="0">
                    <a:pos x="76" y="36"/>
                  </a:cxn>
                  <a:cxn ang="0">
                    <a:pos x="78" y="46"/>
                  </a:cxn>
                  <a:cxn ang="0">
                    <a:pos x="68" y="72"/>
                  </a:cxn>
                  <a:cxn ang="0">
                    <a:pos x="58" y="78"/>
                  </a:cxn>
                  <a:cxn ang="0">
                    <a:pos x="36" y="76"/>
                  </a:cxn>
                  <a:cxn ang="0">
                    <a:pos x="22" y="58"/>
                  </a:cxn>
                  <a:cxn ang="0">
                    <a:pos x="20" y="48"/>
                  </a:cxn>
                  <a:cxn ang="0">
                    <a:pos x="34" y="24"/>
                  </a:cxn>
                </a:cxnLst>
                <a:rect l="0" t="0" r="r" b="b"/>
                <a:pathLst>
                  <a:path w="100" h="100">
                    <a:moveTo>
                      <a:pt x="10" y="24"/>
                    </a:moveTo>
                    <a:lnTo>
                      <a:pt x="10" y="24"/>
                    </a:lnTo>
                    <a:lnTo>
                      <a:pt x="12" y="28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2" y="3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50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6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4" y="80"/>
                    </a:lnTo>
                    <a:lnTo>
                      <a:pt x="14" y="80"/>
                    </a:lnTo>
                    <a:lnTo>
                      <a:pt x="12" y="84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4" y="88"/>
                    </a:lnTo>
                    <a:lnTo>
                      <a:pt x="24" y="88"/>
                    </a:lnTo>
                    <a:lnTo>
                      <a:pt x="28" y="88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2" y="90"/>
                    </a:lnTo>
                    <a:lnTo>
                      <a:pt x="32" y="94"/>
                    </a:lnTo>
                    <a:lnTo>
                      <a:pt x="32" y="94"/>
                    </a:lnTo>
                    <a:lnTo>
                      <a:pt x="34" y="98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44" y="100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50" y="94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60" y="98"/>
                    </a:lnTo>
                    <a:lnTo>
                      <a:pt x="66" y="98"/>
                    </a:lnTo>
                    <a:lnTo>
                      <a:pt x="66" y="98"/>
                    </a:lnTo>
                    <a:lnTo>
                      <a:pt x="70" y="96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88"/>
                    </a:lnTo>
                    <a:lnTo>
                      <a:pt x="74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80" y="86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90" y="80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6" y="72"/>
                    </a:lnTo>
                    <a:lnTo>
                      <a:pt x="88" y="68"/>
                    </a:lnTo>
                    <a:lnTo>
                      <a:pt x="88" y="68"/>
                    </a:lnTo>
                    <a:lnTo>
                      <a:pt x="90" y="66"/>
                    </a:lnTo>
                    <a:lnTo>
                      <a:pt x="94" y="66"/>
                    </a:lnTo>
                    <a:lnTo>
                      <a:pt x="94" y="66"/>
                    </a:lnTo>
                    <a:lnTo>
                      <a:pt x="98" y="64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5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2" y="50"/>
                    </a:lnTo>
                    <a:lnTo>
                      <a:pt x="92" y="46"/>
                    </a:lnTo>
                    <a:lnTo>
                      <a:pt x="92" y="46"/>
                    </a:lnTo>
                    <a:lnTo>
                      <a:pt x="92" y="44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8" y="38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88" y="28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4" y="24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4" y="12"/>
                    </a:lnTo>
                    <a:lnTo>
                      <a:pt x="84" y="12"/>
                    </a:lnTo>
                    <a:lnTo>
                      <a:pt x="80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2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4" y="2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0" y="6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10" y="24"/>
                    </a:lnTo>
                    <a:close/>
                    <a:moveTo>
                      <a:pt x="40" y="22"/>
                    </a:moveTo>
                    <a:lnTo>
                      <a:pt x="40" y="22"/>
                    </a:lnTo>
                    <a:lnTo>
                      <a:pt x="46" y="20"/>
                    </a:lnTo>
                    <a:lnTo>
                      <a:pt x="52" y="20"/>
                    </a:lnTo>
                    <a:lnTo>
                      <a:pt x="62" y="24"/>
                    </a:lnTo>
                    <a:lnTo>
                      <a:pt x="72" y="30"/>
                    </a:lnTo>
                    <a:lnTo>
                      <a:pt x="76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6"/>
                    </a:lnTo>
                    <a:lnTo>
                      <a:pt x="78" y="52"/>
                    </a:lnTo>
                    <a:lnTo>
                      <a:pt x="76" y="64"/>
                    </a:lnTo>
                    <a:lnTo>
                      <a:pt x="68" y="72"/>
                    </a:lnTo>
                    <a:lnTo>
                      <a:pt x="64" y="76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2" y="80"/>
                    </a:lnTo>
                    <a:lnTo>
                      <a:pt x="46" y="80"/>
                    </a:lnTo>
                    <a:lnTo>
                      <a:pt x="36" y="76"/>
                    </a:lnTo>
                    <a:lnTo>
                      <a:pt x="26" y="70"/>
                    </a:lnTo>
                    <a:lnTo>
                      <a:pt x="24" y="64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4" y="36"/>
                    </a:lnTo>
                    <a:lnTo>
                      <a:pt x="30" y="28"/>
                    </a:lnTo>
                    <a:lnTo>
                      <a:pt x="34" y="24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8" name="Freeform 110"/>
              <p:cNvSpPr>
                <a:spLocks noEditPoints="1"/>
              </p:cNvSpPr>
              <p:nvPr/>
            </p:nvSpPr>
            <p:spPr bwMode="auto">
              <a:xfrm>
                <a:off x="10699750" y="2381250"/>
                <a:ext cx="120650" cy="123825"/>
              </a:xfrm>
              <a:custGeom>
                <a:avLst/>
                <a:gdLst/>
                <a:ahLst/>
                <a:cxnLst>
                  <a:cxn ang="0">
                    <a:pos x="10" y="22"/>
                  </a:cxn>
                  <a:cxn ang="0">
                    <a:pos x="8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4" y="44"/>
                  </a:cxn>
                  <a:cxn ang="0">
                    <a:pos x="0" y="48"/>
                  </a:cxn>
                  <a:cxn ang="0">
                    <a:pos x="2" y="54"/>
                  </a:cxn>
                  <a:cxn ang="0">
                    <a:pos x="8" y="56"/>
                  </a:cxn>
                  <a:cxn ang="0">
                    <a:pos x="10" y="60"/>
                  </a:cxn>
                  <a:cxn ang="0">
                    <a:pos x="10" y="66"/>
                  </a:cxn>
                  <a:cxn ang="0">
                    <a:pos x="14" y="70"/>
                  </a:cxn>
                  <a:cxn ang="0">
                    <a:pos x="22" y="68"/>
                  </a:cxn>
                  <a:cxn ang="0">
                    <a:pos x="26" y="70"/>
                  </a:cxn>
                  <a:cxn ang="0">
                    <a:pos x="26" y="76"/>
                  </a:cxn>
                  <a:cxn ang="0">
                    <a:pos x="34" y="78"/>
                  </a:cxn>
                  <a:cxn ang="0">
                    <a:pos x="38" y="74"/>
                  </a:cxn>
                  <a:cxn ang="0">
                    <a:pos x="42" y="72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54" y="68"/>
                  </a:cxn>
                  <a:cxn ang="0">
                    <a:pos x="58" y="66"/>
                  </a:cxn>
                  <a:cxn ang="0">
                    <a:pos x="64" y="68"/>
                  </a:cxn>
                  <a:cxn ang="0">
                    <a:pos x="70" y="62"/>
                  </a:cxn>
                  <a:cxn ang="0">
                    <a:pos x="66" y="56"/>
                  </a:cxn>
                  <a:cxn ang="0">
                    <a:pos x="70" y="52"/>
                  </a:cxn>
                  <a:cxn ang="0">
                    <a:pos x="74" y="52"/>
                  </a:cxn>
                  <a:cxn ang="0">
                    <a:pos x="76" y="44"/>
                  </a:cxn>
                  <a:cxn ang="0">
                    <a:pos x="72" y="40"/>
                  </a:cxn>
                  <a:cxn ang="0">
                    <a:pos x="72" y="36"/>
                  </a:cxn>
                  <a:cxn ang="0">
                    <a:pos x="76" y="32"/>
                  </a:cxn>
                  <a:cxn ang="0">
                    <a:pos x="74" y="24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66" y="14"/>
                  </a:cxn>
                  <a:cxn ang="0">
                    <a:pos x="62" y="8"/>
                  </a:cxn>
                  <a:cxn ang="0">
                    <a:pos x="54" y="10"/>
                  </a:cxn>
                  <a:cxn ang="0">
                    <a:pos x="50" y="8"/>
                  </a:cxn>
                  <a:cxn ang="0">
                    <a:pos x="50" y="2"/>
                  </a:cxn>
                  <a:cxn ang="0">
                    <a:pos x="42" y="2"/>
                  </a:cxn>
                  <a:cxn ang="0">
                    <a:pos x="38" y="6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2" y="4"/>
                  </a:cxn>
                  <a:cxn ang="0">
                    <a:pos x="22" y="10"/>
                  </a:cxn>
                  <a:cxn ang="0">
                    <a:pos x="18" y="14"/>
                  </a:cxn>
                  <a:cxn ang="0">
                    <a:pos x="12" y="12"/>
                  </a:cxn>
                  <a:cxn ang="0">
                    <a:pos x="8" y="16"/>
                  </a:cxn>
                  <a:cxn ang="0">
                    <a:pos x="32" y="18"/>
                  </a:cxn>
                  <a:cxn ang="0">
                    <a:pos x="48" y="20"/>
                  </a:cxn>
                  <a:cxn ang="0">
                    <a:pos x="60" y="32"/>
                  </a:cxn>
                  <a:cxn ang="0">
                    <a:pos x="52" y="56"/>
                  </a:cxn>
                  <a:cxn ang="0">
                    <a:pos x="36" y="62"/>
                  </a:cxn>
                  <a:cxn ang="0">
                    <a:pos x="16" y="46"/>
                  </a:cxn>
                  <a:cxn ang="0">
                    <a:pos x="18" y="30"/>
                  </a:cxn>
                  <a:cxn ang="0">
                    <a:pos x="32" y="18"/>
                  </a:cxn>
                </a:cxnLst>
                <a:rect l="0" t="0" r="r" b="b"/>
                <a:pathLst>
                  <a:path w="76" h="78">
                    <a:moveTo>
                      <a:pt x="8" y="20"/>
                    </a:moveTo>
                    <a:lnTo>
                      <a:pt x="8" y="20"/>
                    </a:lnTo>
                    <a:lnTo>
                      <a:pt x="10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6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4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6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8" y="74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2" y="72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4" y="76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8" y="66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4" y="68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70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6" y="56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70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4" y="52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2" y="40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2" y="36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6" y="32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4" y="24"/>
                    </a:lnTo>
                    <a:lnTo>
                      <a:pt x="70" y="24"/>
                    </a:lnTo>
                    <a:lnTo>
                      <a:pt x="70" y="24"/>
                    </a:lnTo>
                    <a:lnTo>
                      <a:pt x="68" y="24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0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6" y="14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8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4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2" y="2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6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18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  <a:moveTo>
                      <a:pt x="32" y="18"/>
                    </a:moveTo>
                    <a:lnTo>
                      <a:pt x="32" y="18"/>
                    </a:lnTo>
                    <a:lnTo>
                      <a:pt x="40" y="18"/>
                    </a:lnTo>
                    <a:lnTo>
                      <a:pt x="48" y="20"/>
                    </a:lnTo>
                    <a:lnTo>
                      <a:pt x="56" y="24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42"/>
                    </a:lnTo>
                    <a:lnTo>
                      <a:pt x="58" y="50"/>
                    </a:lnTo>
                    <a:lnTo>
                      <a:pt x="52" y="56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36" y="62"/>
                    </a:lnTo>
                    <a:lnTo>
                      <a:pt x="28" y="60"/>
                    </a:lnTo>
                    <a:lnTo>
                      <a:pt x="20" y="5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38"/>
                    </a:lnTo>
                    <a:lnTo>
                      <a:pt x="18" y="30"/>
                    </a:lnTo>
                    <a:lnTo>
                      <a:pt x="24" y="22"/>
                    </a:lnTo>
                    <a:lnTo>
                      <a:pt x="32" y="18"/>
                    </a:lnTo>
                    <a:lnTo>
                      <a:pt x="32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2846918" y="4112344"/>
              <a:ext cx="305086" cy="375864"/>
              <a:chOff x="10201275" y="5540375"/>
              <a:chExt cx="282575" cy="352425"/>
            </a:xfrm>
            <a:solidFill>
              <a:schemeClr val="bg1"/>
            </a:solidFill>
          </p:grpSpPr>
          <p:sp>
            <p:nvSpPr>
              <p:cNvPr id="110" name="Freeform 65"/>
              <p:cNvSpPr>
                <a:spLocks noEditPoints="1"/>
              </p:cNvSpPr>
              <p:nvPr/>
            </p:nvSpPr>
            <p:spPr bwMode="auto">
              <a:xfrm>
                <a:off x="10201275" y="5673725"/>
                <a:ext cx="282575" cy="219075"/>
              </a:xfrm>
              <a:custGeom>
                <a:avLst/>
                <a:gdLst/>
                <a:ahLst/>
                <a:cxnLst>
                  <a:cxn ang="0">
                    <a:pos x="178" y="22"/>
                  </a:cxn>
                  <a:cxn ang="0">
                    <a:pos x="176" y="14"/>
                  </a:cxn>
                  <a:cxn ang="0">
                    <a:pos x="164" y="2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2" y="14"/>
                  </a:cxn>
                  <a:cxn ang="0">
                    <a:pos x="0" y="118"/>
                  </a:cxn>
                  <a:cxn ang="0">
                    <a:pos x="2" y="126"/>
                  </a:cxn>
                  <a:cxn ang="0">
                    <a:pos x="14" y="138"/>
                  </a:cxn>
                  <a:cxn ang="0">
                    <a:pos x="156" y="138"/>
                  </a:cxn>
                  <a:cxn ang="0">
                    <a:pos x="164" y="138"/>
                  </a:cxn>
                  <a:cxn ang="0">
                    <a:pos x="176" y="126"/>
                  </a:cxn>
                  <a:cxn ang="0">
                    <a:pos x="178" y="112"/>
                  </a:cxn>
                  <a:cxn ang="0">
                    <a:pos x="150" y="100"/>
                  </a:cxn>
                  <a:cxn ang="0">
                    <a:pos x="178" y="84"/>
                  </a:cxn>
                  <a:cxn ang="0">
                    <a:pos x="150" y="72"/>
                  </a:cxn>
                  <a:cxn ang="0">
                    <a:pos x="178" y="54"/>
                  </a:cxn>
                  <a:cxn ang="0">
                    <a:pos x="150" y="44"/>
                  </a:cxn>
                  <a:cxn ang="0">
                    <a:pos x="96" y="80"/>
                  </a:cxn>
                  <a:cxn ang="0">
                    <a:pos x="96" y="96"/>
                  </a:cxn>
                  <a:cxn ang="0">
                    <a:pos x="90" y="102"/>
                  </a:cxn>
                  <a:cxn ang="0">
                    <a:pos x="84" y="100"/>
                  </a:cxn>
                  <a:cxn ang="0">
                    <a:pos x="82" y="80"/>
                  </a:cxn>
                  <a:cxn ang="0">
                    <a:pos x="78" y="78"/>
                  </a:cxn>
                  <a:cxn ang="0">
                    <a:pos x="72" y="70"/>
                  </a:cxn>
                  <a:cxn ang="0">
                    <a:pos x="72" y="64"/>
                  </a:cxn>
                  <a:cxn ang="0">
                    <a:pos x="76" y="52"/>
                  </a:cxn>
                  <a:cxn ang="0">
                    <a:pos x="90" y="46"/>
                  </a:cxn>
                  <a:cxn ang="0">
                    <a:pos x="96" y="48"/>
                  </a:cxn>
                  <a:cxn ang="0">
                    <a:pos x="106" y="58"/>
                  </a:cxn>
                  <a:cxn ang="0">
                    <a:pos x="108" y="64"/>
                  </a:cxn>
                  <a:cxn ang="0">
                    <a:pos x="104" y="74"/>
                  </a:cxn>
                  <a:cxn ang="0">
                    <a:pos x="96" y="80"/>
                  </a:cxn>
                </a:cxnLst>
                <a:rect l="0" t="0" r="r" b="b"/>
                <a:pathLst>
                  <a:path w="178" h="138">
                    <a:moveTo>
                      <a:pt x="178" y="44"/>
                    </a:moveTo>
                    <a:lnTo>
                      <a:pt x="178" y="22"/>
                    </a:lnTo>
                    <a:lnTo>
                      <a:pt x="178" y="22"/>
                    </a:lnTo>
                    <a:lnTo>
                      <a:pt x="176" y="14"/>
                    </a:lnTo>
                    <a:lnTo>
                      <a:pt x="172" y="6"/>
                    </a:lnTo>
                    <a:lnTo>
                      <a:pt x="164" y="2"/>
                    </a:lnTo>
                    <a:lnTo>
                      <a:pt x="15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26"/>
                    </a:lnTo>
                    <a:lnTo>
                      <a:pt x="6" y="132"/>
                    </a:lnTo>
                    <a:lnTo>
                      <a:pt x="14" y="138"/>
                    </a:lnTo>
                    <a:lnTo>
                      <a:pt x="22" y="138"/>
                    </a:lnTo>
                    <a:lnTo>
                      <a:pt x="156" y="138"/>
                    </a:lnTo>
                    <a:lnTo>
                      <a:pt x="156" y="138"/>
                    </a:lnTo>
                    <a:lnTo>
                      <a:pt x="164" y="138"/>
                    </a:lnTo>
                    <a:lnTo>
                      <a:pt x="172" y="132"/>
                    </a:lnTo>
                    <a:lnTo>
                      <a:pt x="176" y="126"/>
                    </a:lnTo>
                    <a:lnTo>
                      <a:pt x="178" y="118"/>
                    </a:lnTo>
                    <a:lnTo>
                      <a:pt x="178" y="112"/>
                    </a:lnTo>
                    <a:lnTo>
                      <a:pt x="150" y="112"/>
                    </a:lnTo>
                    <a:lnTo>
                      <a:pt x="150" y="100"/>
                    </a:lnTo>
                    <a:lnTo>
                      <a:pt x="178" y="100"/>
                    </a:lnTo>
                    <a:lnTo>
                      <a:pt x="178" y="84"/>
                    </a:lnTo>
                    <a:lnTo>
                      <a:pt x="150" y="84"/>
                    </a:lnTo>
                    <a:lnTo>
                      <a:pt x="150" y="72"/>
                    </a:lnTo>
                    <a:lnTo>
                      <a:pt x="178" y="72"/>
                    </a:lnTo>
                    <a:lnTo>
                      <a:pt x="178" y="54"/>
                    </a:lnTo>
                    <a:lnTo>
                      <a:pt x="150" y="54"/>
                    </a:lnTo>
                    <a:lnTo>
                      <a:pt x="150" y="44"/>
                    </a:lnTo>
                    <a:lnTo>
                      <a:pt x="178" y="44"/>
                    </a:lnTo>
                    <a:close/>
                    <a:moveTo>
                      <a:pt x="96" y="80"/>
                    </a:moveTo>
                    <a:lnTo>
                      <a:pt x="96" y="96"/>
                    </a:lnTo>
                    <a:lnTo>
                      <a:pt x="96" y="96"/>
                    </a:lnTo>
                    <a:lnTo>
                      <a:pt x="94" y="100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84" y="100"/>
                    </a:lnTo>
                    <a:lnTo>
                      <a:pt x="82" y="96"/>
                    </a:lnTo>
                    <a:lnTo>
                      <a:pt x="82" y="80"/>
                    </a:lnTo>
                    <a:lnTo>
                      <a:pt x="82" y="80"/>
                    </a:lnTo>
                    <a:lnTo>
                      <a:pt x="78" y="78"/>
                    </a:lnTo>
                    <a:lnTo>
                      <a:pt x="74" y="74"/>
                    </a:lnTo>
                    <a:lnTo>
                      <a:pt x="72" y="7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82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6" y="48"/>
                    </a:lnTo>
                    <a:lnTo>
                      <a:pt x="102" y="52"/>
                    </a:lnTo>
                    <a:lnTo>
                      <a:pt x="106" y="58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6" y="70"/>
                    </a:lnTo>
                    <a:lnTo>
                      <a:pt x="104" y="74"/>
                    </a:lnTo>
                    <a:lnTo>
                      <a:pt x="102" y="78"/>
                    </a:lnTo>
                    <a:lnTo>
                      <a:pt x="96" y="80"/>
                    </a:lnTo>
                    <a:lnTo>
                      <a:pt x="96" y="8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1" name="Freeform 66"/>
              <p:cNvSpPr>
                <a:spLocks/>
              </p:cNvSpPr>
              <p:nvPr/>
            </p:nvSpPr>
            <p:spPr bwMode="auto">
              <a:xfrm>
                <a:off x="10229850" y="5540375"/>
                <a:ext cx="225425" cy="127000"/>
              </a:xfrm>
              <a:custGeom>
                <a:avLst/>
                <a:gdLst/>
                <a:ahLst/>
                <a:cxnLst>
                  <a:cxn ang="0">
                    <a:pos x="24" y="54"/>
                  </a:cxn>
                  <a:cxn ang="0">
                    <a:pos x="24" y="54"/>
                  </a:cxn>
                  <a:cxn ang="0">
                    <a:pos x="26" y="48"/>
                  </a:cxn>
                  <a:cxn ang="0">
                    <a:pos x="28" y="42"/>
                  </a:cxn>
                  <a:cxn ang="0">
                    <a:pos x="30" y="36"/>
                  </a:cxn>
                  <a:cxn ang="0">
                    <a:pos x="36" y="30"/>
                  </a:cxn>
                  <a:cxn ang="0">
                    <a:pos x="40" y="26"/>
                  </a:cxn>
                  <a:cxn ang="0">
                    <a:pos x="46" y="22"/>
                  </a:cxn>
                  <a:cxn ang="0">
                    <a:pos x="52" y="20"/>
                  </a:cxn>
                  <a:cxn ang="0">
                    <a:pos x="60" y="20"/>
                  </a:cxn>
                  <a:cxn ang="0">
                    <a:pos x="82" y="20"/>
                  </a:cxn>
                  <a:cxn ang="0">
                    <a:pos x="82" y="20"/>
                  </a:cxn>
                  <a:cxn ang="0">
                    <a:pos x="90" y="20"/>
                  </a:cxn>
                  <a:cxn ang="0">
                    <a:pos x="96" y="22"/>
                  </a:cxn>
                  <a:cxn ang="0">
                    <a:pos x="102" y="26"/>
                  </a:cxn>
                  <a:cxn ang="0">
                    <a:pos x="108" y="30"/>
                  </a:cxn>
                  <a:cxn ang="0">
                    <a:pos x="112" y="36"/>
                  </a:cxn>
                  <a:cxn ang="0">
                    <a:pos x="114" y="42"/>
                  </a:cxn>
                  <a:cxn ang="0">
                    <a:pos x="116" y="48"/>
                  </a:cxn>
                  <a:cxn ang="0">
                    <a:pos x="118" y="54"/>
                  </a:cxn>
                  <a:cxn ang="0">
                    <a:pos x="118" y="80"/>
                  </a:cxn>
                  <a:cxn ang="0">
                    <a:pos x="142" y="80"/>
                  </a:cxn>
                  <a:cxn ang="0">
                    <a:pos x="142" y="48"/>
                  </a:cxn>
                  <a:cxn ang="0">
                    <a:pos x="142" y="48"/>
                  </a:cxn>
                  <a:cxn ang="0">
                    <a:pos x="142" y="38"/>
                  </a:cxn>
                  <a:cxn ang="0">
                    <a:pos x="138" y="28"/>
                  </a:cxn>
                  <a:cxn ang="0">
                    <a:pos x="134" y="20"/>
                  </a:cxn>
                  <a:cxn ang="0">
                    <a:pos x="128" y="14"/>
                  </a:cxn>
                  <a:cxn ang="0">
                    <a:pos x="122" y="8"/>
                  </a:cxn>
                  <a:cxn ang="0">
                    <a:pos x="114" y="4"/>
                  </a:cxn>
                  <a:cxn ang="0">
                    <a:pos x="104" y="0"/>
                  </a:cxn>
                  <a:cxn ang="0">
                    <a:pos x="94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80"/>
                  </a:cxn>
                  <a:cxn ang="0">
                    <a:pos x="24" y="80"/>
                  </a:cxn>
                  <a:cxn ang="0">
                    <a:pos x="24" y="54"/>
                  </a:cxn>
                </a:cxnLst>
                <a:rect l="0" t="0" r="r" b="b"/>
                <a:pathLst>
                  <a:path w="142" h="80">
                    <a:moveTo>
                      <a:pt x="24" y="54"/>
                    </a:moveTo>
                    <a:lnTo>
                      <a:pt x="24" y="54"/>
                    </a:lnTo>
                    <a:lnTo>
                      <a:pt x="26" y="48"/>
                    </a:lnTo>
                    <a:lnTo>
                      <a:pt x="28" y="42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40" y="26"/>
                    </a:lnTo>
                    <a:lnTo>
                      <a:pt x="46" y="22"/>
                    </a:lnTo>
                    <a:lnTo>
                      <a:pt x="52" y="20"/>
                    </a:lnTo>
                    <a:lnTo>
                      <a:pt x="60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90" y="20"/>
                    </a:lnTo>
                    <a:lnTo>
                      <a:pt x="96" y="22"/>
                    </a:lnTo>
                    <a:lnTo>
                      <a:pt x="102" y="26"/>
                    </a:lnTo>
                    <a:lnTo>
                      <a:pt x="108" y="30"/>
                    </a:lnTo>
                    <a:lnTo>
                      <a:pt x="112" y="36"/>
                    </a:lnTo>
                    <a:lnTo>
                      <a:pt x="114" y="42"/>
                    </a:lnTo>
                    <a:lnTo>
                      <a:pt x="116" y="48"/>
                    </a:lnTo>
                    <a:lnTo>
                      <a:pt x="118" y="54"/>
                    </a:lnTo>
                    <a:lnTo>
                      <a:pt x="118" y="80"/>
                    </a:lnTo>
                    <a:lnTo>
                      <a:pt x="142" y="80"/>
                    </a:lnTo>
                    <a:lnTo>
                      <a:pt x="142" y="48"/>
                    </a:lnTo>
                    <a:lnTo>
                      <a:pt x="142" y="48"/>
                    </a:lnTo>
                    <a:lnTo>
                      <a:pt x="142" y="38"/>
                    </a:lnTo>
                    <a:lnTo>
                      <a:pt x="138" y="28"/>
                    </a:lnTo>
                    <a:lnTo>
                      <a:pt x="134" y="20"/>
                    </a:lnTo>
                    <a:lnTo>
                      <a:pt x="128" y="14"/>
                    </a:lnTo>
                    <a:lnTo>
                      <a:pt x="122" y="8"/>
                    </a:lnTo>
                    <a:lnTo>
                      <a:pt x="114" y="4"/>
                    </a:lnTo>
                    <a:lnTo>
                      <a:pt x="104" y="0"/>
                    </a:lnTo>
                    <a:lnTo>
                      <a:pt x="9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80"/>
                    </a:lnTo>
                    <a:lnTo>
                      <a:pt x="24" y="80"/>
                    </a:lnTo>
                    <a:lnTo>
                      <a:pt x="24" y="5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3414814" y="2200662"/>
              <a:ext cx="374884" cy="431056"/>
              <a:chOff x="10346473" y="-1711511"/>
              <a:chExt cx="613894" cy="651867"/>
            </a:xfrm>
            <a:solidFill>
              <a:schemeClr val="bg1"/>
            </a:solidFill>
          </p:grpSpPr>
          <p:sp>
            <p:nvSpPr>
              <p:cNvPr id="113" name="Freeform 66"/>
              <p:cNvSpPr>
                <a:spLocks/>
              </p:cNvSpPr>
              <p:nvPr/>
            </p:nvSpPr>
            <p:spPr bwMode="auto">
              <a:xfrm>
                <a:off x="10840120" y="-1711511"/>
                <a:ext cx="120247" cy="367071"/>
              </a:xfrm>
              <a:custGeom>
                <a:avLst/>
                <a:gdLst/>
                <a:ahLst/>
                <a:cxnLst>
                  <a:cxn ang="0">
                    <a:pos x="2" y="102"/>
                  </a:cxn>
                  <a:cxn ang="0">
                    <a:pos x="2" y="102"/>
                  </a:cxn>
                  <a:cxn ang="0">
                    <a:pos x="10" y="92"/>
                  </a:cxn>
                  <a:cxn ang="0">
                    <a:pos x="16" y="82"/>
                  </a:cxn>
                  <a:cxn ang="0">
                    <a:pos x="20" y="70"/>
                  </a:cxn>
                  <a:cxn ang="0">
                    <a:pos x="22" y="58"/>
                  </a:cxn>
                  <a:cxn ang="0">
                    <a:pos x="22" y="58"/>
                  </a:cxn>
                  <a:cxn ang="0">
                    <a:pos x="20" y="46"/>
                  </a:cxn>
                  <a:cxn ang="0">
                    <a:pos x="16" y="34"/>
                  </a:cxn>
                  <a:cxn ang="0">
                    <a:pos x="10" y="24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2" y="10"/>
                  </a:cxn>
                  <a:cxn ang="0">
                    <a:pos x="0" y="8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24" y="14"/>
                  </a:cxn>
                  <a:cxn ang="0">
                    <a:pos x="32" y="28"/>
                  </a:cxn>
                  <a:cxn ang="0">
                    <a:pos x="36" y="42"/>
                  </a:cxn>
                  <a:cxn ang="0">
                    <a:pos x="38" y="58"/>
                  </a:cxn>
                  <a:cxn ang="0">
                    <a:pos x="36" y="72"/>
                  </a:cxn>
                  <a:cxn ang="0">
                    <a:pos x="32" y="88"/>
                  </a:cxn>
                  <a:cxn ang="0">
                    <a:pos x="24" y="100"/>
                  </a:cxn>
                  <a:cxn ang="0">
                    <a:pos x="14" y="114"/>
                  </a:cxn>
                  <a:cxn ang="0">
                    <a:pos x="14" y="114"/>
                  </a:cxn>
                  <a:cxn ang="0">
                    <a:pos x="12" y="116"/>
                  </a:cxn>
                  <a:cxn ang="0">
                    <a:pos x="8" y="116"/>
                  </a:cxn>
                  <a:cxn ang="0">
                    <a:pos x="6" y="116"/>
                  </a:cxn>
                  <a:cxn ang="0">
                    <a:pos x="2" y="114"/>
                  </a:cxn>
                  <a:cxn ang="0">
                    <a:pos x="2" y="114"/>
                  </a:cxn>
                  <a:cxn ang="0">
                    <a:pos x="2" y="110"/>
                  </a:cxn>
                  <a:cxn ang="0">
                    <a:pos x="0" y="108"/>
                  </a:cxn>
                  <a:cxn ang="0">
                    <a:pos x="2" y="104"/>
                  </a:cxn>
                  <a:cxn ang="0">
                    <a:pos x="2" y="102"/>
                  </a:cxn>
                  <a:cxn ang="0">
                    <a:pos x="2" y="102"/>
                  </a:cxn>
                </a:cxnLst>
                <a:rect l="0" t="0" r="r" b="b"/>
                <a:pathLst>
                  <a:path w="38" h="116">
                    <a:moveTo>
                      <a:pt x="2" y="102"/>
                    </a:moveTo>
                    <a:lnTo>
                      <a:pt x="2" y="102"/>
                    </a:lnTo>
                    <a:lnTo>
                      <a:pt x="10" y="92"/>
                    </a:lnTo>
                    <a:lnTo>
                      <a:pt x="16" y="82"/>
                    </a:lnTo>
                    <a:lnTo>
                      <a:pt x="20" y="70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0" y="46"/>
                    </a:lnTo>
                    <a:lnTo>
                      <a:pt x="16" y="34"/>
                    </a:lnTo>
                    <a:lnTo>
                      <a:pt x="10" y="2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14"/>
                    </a:lnTo>
                    <a:lnTo>
                      <a:pt x="32" y="28"/>
                    </a:lnTo>
                    <a:lnTo>
                      <a:pt x="36" y="42"/>
                    </a:lnTo>
                    <a:lnTo>
                      <a:pt x="38" y="58"/>
                    </a:lnTo>
                    <a:lnTo>
                      <a:pt x="36" y="72"/>
                    </a:lnTo>
                    <a:lnTo>
                      <a:pt x="32" y="88"/>
                    </a:lnTo>
                    <a:lnTo>
                      <a:pt x="24" y="100"/>
                    </a:lnTo>
                    <a:lnTo>
                      <a:pt x="14" y="114"/>
                    </a:lnTo>
                    <a:lnTo>
                      <a:pt x="14" y="114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6" y="116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2" y="1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4" name="Freeform 67"/>
              <p:cNvSpPr>
                <a:spLocks/>
              </p:cNvSpPr>
              <p:nvPr/>
            </p:nvSpPr>
            <p:spPr bwMode="auto">
              <a:xfrm>
                <a:off x="10789490" y="-1660881"/>
                <a:ext cx="88603" cy="259481"/>
              </a:xfrm>
              <a:custGeom>
                <a:avLst/>
                <a:gdLst/>
                <a:ahLst/>
                <a:cxnLst>
                  <a:cxn ang="0">
                    <a:pos x="2" y="68"/>
                  </a:cxn>
                  <a:cxn ang="0">
                    <a:pos x="2" y="68"/>
                  </a:cxn>
                  <a:cxn ang="0">
                    <a:pos x="6" y="62"/>
                  </a:cxn>
                  <a:cxn ang="0">
                    <a:pos x="10" y="56"/>
                  </a:cxn>
                  <a:cxn ang="0">
                    <a:pos x="12" y="48"/>
                  </a:cxn>
                  <a:cxn ang="0">
                    <a:pos x="12" y="42"/>
                  </a:cxn>
                  <a:cxn ang="0">
                    <a:pos x="12" y="34"/>
                  </a:cxn>
                  <a:cxn ang="0">
                    <a:pos x="10" y="28"/>
                  </a:cxn>
                  <a:cxn ang="0">
                    <a:pos x="6" y="2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20" y="12"/>
                  </a:cxn>
                  <a:cxn ang="0">
                    <a:pos x="24" y="22"/>
                  </a:cxn>
                  <a:cxn ang="0">
                    <a:pos x="28" y="32"/>
                  </a:cxn>
                  <a:cxn ang="0">
                    <a:pos x="28" y="42"/>
                  </a:cxn>
                  <a:cxn ang="0">
                    <a:pos x="28" y="52"/>
                  </a:cxn>
                  <a:cxn ang="0">
                    <a:pos x="24" y="62"/>
                  </a:cxn>
                  <a:cxn ang="0">
                    <a:pos x="20" y="72"/>
                  </a:cxn>
                  <a:cxn ang="0">
                    <a:pos x="12" y="80"/>
                  </a:cxn>
                  <a:cxn ang="0">
                    <a:pos x="12" y="80"/>
                  </a:cxn>
                  <a:cxn ang="0">
                    <a:pos x="10" y="82"/>
                  </a:cxn>
                  <a:cxn ang="0">
                    <a:pos x="8" y="82"/>
                  </a:cxn>
                  <a:cxn ang="0">
                    <a:pos x="4" y="82"/>
                  </a:cxn>
                  <a:cxn ang="0">
                    <a:pos x="2" y="80"/>
                  </a:cxn>
                  <a:cxn ang="0">
                    <a:pos x="2" y="80"/>
                  </a:cxn>
                  <a:cxn ang="0">
                    <a:pos x="0" y="78"/>
                  </a:cxn>
                  <a:cxn ang="0">
                    <a:pos x="0" y="74"/>
                  </a:cxn>
                  <a:cxn ang="0">
                    <a:pos x="0" y="72"/>
                  </a:cxn>
                  <a:cxn ang="0">
                    <a:pos x="2" y="68"/>
                  </a:cxn>
                  <a:cxn ang="0">
                    <a:pos x="2" y="68"/>
                  </a:cxn>
                </a:cxnLst>
                <a:rect l="0" t="0" r="r" b="b"/>
                <a:pathLst>
                  <a:path w="28" h="82">
                    <a:moveTo>
                      <a:pt x="2" y="68"/>
                    </a:moveTo>
                    <a:lnTo>
                      <a:pt x="2" y="68"/>
                    </a:lnTo>
                    <a:lnTo>
                      <a:pt x="6" y="62"/>
                    </a:lnTo>
                    <a:lnTo>
                      <a:pt x="10" y="56"/>
                    </a:lnTo>
                    <a:lnTo>
                      <a:pt x="12" y="48"/>
                    </a:lnTo>
                    <a:lnTo>
                      <a:pt x="12" y="42"/>
                    </a:lnTo>
                    <a:lnTo>
                      <a:pt x="12" y="34"/>
                    </a:lnTo>
                    <a:lnTo>
                      <a:pt x="10" y="28"/>
                    </a:lnTo>
                    <a:lnTo>
                      <a:pt x="6" y="2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20" y="12"/>
                    </a:lnTo>
                    <a:lnTo>
                      <a:pt x="24" y="22"/>
                    </a:lnTo>
                    <a:lnTo>
                      <a:pt x="28" y="32"/>
                    </a:lnTo>
                    <a:lnTo>
                      <a:pt x="28" y="42"/>
                    </a:lnTo>
                    <a:lnTo>
                      <a:pt x="28" y="52"/>
                    </a:lnTo>
                    <a:lnTo>
                      <a:pt x="24" y="62"/>
                    </a:lnTo>
                    <a:lnTo>
                      <a:pt x="20" y="72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4" y="82"/>
                    </a:lnTo>
                    <a:lnTo>
                      <a:pt x="2" y="80"/>
                    </a:lnTo>
                    <a:lnTo>
                      <a:pt x="2" y="80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2"/>
                    </a:lnTo>
                    <a:lnTo>
                      <a:pt x="2" y="68"/>
                    </a:lnTo>
                    <a:lnTo>
                      <a:pt x="2" y="6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5" name="Freeform 68"/>
              <p:cNvSpPr>
                <a:spLocks/>
              </p:cNvSpPr>
              <p:nvPr/>
            </p:nvSpPr>
            <p:spPr bwMode="auto">
              <a:xfrm>
                <a:off x="10384446" y="-1711511"/>
                <a:ext cx="120247" cy="367071"/>
              </a:xfrm>
              <a:custGeom>
                <a:avLst/>
                <a:gdLst/>
                <a:ahLst/>
                <a:cxnLst>
                  <a:cxn ang="0">
                    <a:pos x="34" y="14"/>
                  </a:cxn>
                  <a:cxn ang="0">
                    <a:pos x="34" y="14"/>
                  </a:cxn>
                  <a:cxn ang="0">
                    <a:pos x="26" y="24"/>
                  </a:cxn>
                  <a:cxn ang="0">
                    <a:pos x="22" y="34"/>
                  </a:cxn>
                  <a:cxn ang="0">
                    <a:pos x="18" y="46"/>
                  </a:cxn>
                  <a:cxn ang="0">
                    <a:pos x="16" y="58"/>
                  </a:cxn>
                  <a:cxn ang="0">
                    <a:pos x="16" y="58"/>
                  </a:cxn>
                  <a:cxn ang="0">
                    <a:pos x="18" y="70"/>
                  </a:cxn>
                  <a:cxn ang="0">
                    <a:pos x="22" y="82"/>
                  </a:cxn>
                  <a:cxn ang="0">
                    <a:pos x="26" y="92"/>
                  </a:cxn>
                  <a:cxn ang="0">
                    <a:pos x="34" y="102"/>
                  </a:cxn>
                  <a:cxn ang="0">
                    <a:pos x="34" y="102"/>
                  </a:cxn>
                  <a:cxn ang="0">
                    <a:pos x="36" y="104"/>
                  </a:cxn>
                  <a:cxn ang="0">
                    <a:pos x="38" y="108"/>
                  </a:cxn>
                  <a:cxn ang="0">
                    <a:pos x="36" y="110"/>
                  </a:cxn>
                  <a:cxn ang="0">
                    <a:pos x="34" y="114"/>
                  </a:cxn>
                  <a:cxn ang="0">
                    <a:pos x="34" y="114"/>
                  </a:cxn>
                  <a:cxn ang="0">
                    <a:pos x="32" y="116"/>
                  </a:cxn>
                  <a:cxn ang="0">
                    <a:pos x="30" y="116"/>
                  </a:cxn>
                  <a:cxn ang="0">
                    <a:pos x="26" y="116"/>
                  </a:cxn>
                  <a:cxn ang="0">
                    <a:pos x="24" y="114"/>
                  </a:cxn>
                  <a:cxn ang="0">
                    <a:pos x="24" y="114"/>
                  </a:cxn>
                  <a:cxn ang="0">
                    <a:pos x="14" y="100"/>
                  </a:cxn>
                  <a:cxn ang="0">
                    <a:pos x="6" y="88"/>
                  </a:cxn>
                  <a:cxn ang="0">
                    <a:pos x="2" y="72"/>
                  </a:cxn>
                  <a:cxn ang="0">
                    <a:pos x="0" y="58"/>
                  </a:cxn>
                  <a:cxn ang="0">
                    <a:pos x="2" y="42"/>
                  </a:cxn>
                  <a:cxn ang="0">
                    <a:pos x="6" y="28"/>
                  </a:cxn>
                  <a:cxn ang="0">
                    <a:pos x="14" y="1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32" y="0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8"/>
                  </a:cxn>
                  <a:cxn ang="0">
                    <a:pos x="36" y="10"/>
                  </a:cxn>
                  <a:cxn ang="0">
                    <a:pos x="34" y="14"/>
                  </a:cxn>
                  <a:cxn ang="0">
                    <a:pos x="34" y="14"/>
                  </a:cxn>
                </a:cxnLst>
                <a:rect l="0" t="0" r="r" b="b"/>
                <a:pathLst>
                  <a:path w="38" h="116">
                    <a:moveTo>
                      <a:pt x="34" y="14"/>
                    </a:moveTo>
                    <a:lnTo>
                      <a:pt x="34" y="14"/>
                    </a:lnTo>
                    <a:lnTo>
                      <a:pt x="26" y="24"/>
                    </a:lnTo>
                    <a:lnTo>
                      <a:pt x="22" y="34"/>
                    </a:lnTo>
                    <a:lnTo>
                      <a:pt x="18" y="46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8" y="70"/>
                    </a:lnTo>
                    <a:lnTo>
                      <a:pt x="22" y="82"/>
                    </a:lnTo>
                    <a:lnTo>
                      <a:pt x="26" y="9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6" y="104"/>
                    </a:lnTo>
                    <a:lnTo>
                      <a:pt x="38" y="108"/>
                    </a:lnTo>
                    <a:lnTo>
                      <a:pt x="36" y="110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2" y="116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14" y="100"/>
                    </a:lnTo>
                    <a:lnTo>
                      <a:pt x="6" y="88"/>
                    </a:lnTo>
                    <a:lnTo>
                      <a:pt x="2" y="72"/>
                    </a:lnTo>
                    <a:lnTo>
                      <a:pt x="0" y="58"/>
                    </a:lnTo>
                    <a:lnTo>
                      <a:pt x="2" y="42"/>
                    </a:lnTo>
                    <a:lnTo>
                      <a:pt x="6" y="28"/>
                    </a:lnTo>
                    <a:lnTo>
                      <a:pt x="14" y="1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6" y="4"/>
                    </a:lnTo>
                    <a:lnTo>
                      <a:pt x="38" y="8"/>
                    </a:lnTo>
                    <a:lnTo>
                      <a:pt x="36" y="10"/>
                    </a:lnTo>
                    <a:lnTo>
                      <a:pt x="34" y="14"/>
                    </a:lnTo>
                    <a:lnTo>
                      <a:pt x="34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6" name="Freeform 69"/>
              <p:cNvSpPr>
                <a:spLocks/>
              </p:cNvSpPr>
              <p:nvPr/>
            </p:nvSpPr>
            <p:spPr bwMode="auto">
              <a:xfrm>
                <a:off x="10460392" y="-1660881"/>
                <a:ext cx="94932" cy="259481"/>
              </a:xfrm>
              <a:custGeom>
                <a:avLst/>
                <a:gdLst/>
                <a:ahLst/>
                <a:cxnLst>
                  <a:cxn ang="0">
                    <a:pos x="28" y="14"/>
                  </a:cxn>
                  <a:cxn ang="0">
                    <a:pos x="28" y="14"/>
                  </a:cxn>
                  <a:cxn ang="0">
                    <a:pos x="24" y="20"/>
                  </a:cxn>
                  <a:cxn ang="0">
                    <a:pos x="20" y="28"/>
                  </a:cxn>
                  <a:cxn ang="0">
                    <a:pos x="18" y="34"/>
                  </a:cxn>
                  <a:cxn ang="0">
                    <a:pos x="16" y="42"/>
                  </a:cxn>
                  <a:cxn ang="0">
                    <a:pos x="18" y="48"/>
                  </a:cxn>
                  <a:cxn ang="0">
                    <a:pos x="20" y="56"/>
                  </a:cxn>
                  <a:cxn ang="0">
                    <a:pos x="24" y="62"/>
                  </a:cxn>
                  <a:cxn ang="0">
                    <a:pos x="28" y="68"/>
                  </a:cxn>
                  <a:cxn ang="0">
                    <a:pos x="28" y="68"/>
                  </a:cxn>
                  <a:cxn ang="0">
                    <a:pos x="30" y="72"/>
                  </a:cxn>
                  <a:cxn ang="0">
                    <a:pos x="30" y="74"/>
                  </a:cxn>
                  <a:cxn ang="0">
                    <a:pos x="30" y="78"/>
                  </a:cxn>
                  <a:cxn ang="0">
                    <a:pos x="28" y="80"/>
                  </a:cxn>
                  <a:cxn ang="0">
                    <a:pos x="28" y="80"/>
                  </a:cxn>
                  <a:cxn ang="0">
                    <a:pos x="26" y="82"/>
                  </a:cxn>
                  <a:cxn ang="0">
                    <a:pos x="22" y="82"/>
                  </a:cxn>
                  <a:cxn ang="0">
                    <a:pos x="20" y="82"/>
                  </a:cxn>
                  <a:cxn ang="0">
                    <a:pos x="16" y="80"/>
                  </a:cxn>
                  <a:cxn ang="0">
                    <a:pos x="16" y="80"/>
                  </a:cxn>
                  <a:cxn ang="0">
                    <a:pos x="10" y="72"/>
                  </a:cxn>
                  <a:cxn ang="0">
                    <a:pos x="4" y="62"/>
                  </a:cxn>
                  <a:cxn ang="0">
                    <a:pos x="2" y="52"/>
                  </a:cxn>
                  <a:cxn ang="0">
                    <a:pos x="0" y="42"/>
                  </a:cxn>
                  <a:cxn ang="0">
                    <a:pos x="2" y="32"/>
                  </a:cxn>
                  <a:cxn ang="0">
                    <a:pos x="4" y="22"/>
                  </a:cxn>
                  <a:cxn ang="0">
                    <a:pos x="10" y="12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6" y="2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30" y="6"/>
                  </a:cxn>
                  <a:cxn ang="0">
                    <a:pos x="30" y="8"/>
                  </a:cxn>
                  <a:cxn ang="0">
                    <a:pos x="30" y="12"/>
                  </a:cxn>
                  <a:cxn ang="0">
                    <a:pos x="28" y="14"/>
                  </a:cxn>
                  <a:cxn ang="0">
                    <a:pos x="28" y="14"/>
                  </a:cxn>
                </a:cxnLst>
                <a:rect l="0" t="0" r="r" b="b"/>
                <a:pathLst>
                  <a:path w="30" h="82">
                    <a:moveTo>
                      <a:pt x="28" y="14"/>
                    </a:moveTo>
                    <a:lnTo>
                      <a:pt x="28" y="14"/>
                    </a:lnTo>
                    <a:lnTo>
                      <a:pt x="24" y="20"/>
                    </a:lnTo>
                    <a:lnTo>
                      <a:pt x="20" y="28"/>
                    </a:lnTo>
                    <a:lnTo>
                      <a:pt x="18" y="34"/>
                    </a:lnTo>
                    <a:lnTo>
                      <a:pt x="16" y="42"/>
                    </a:lnTo>
                    <a:lnTo>
                      <a:pt x="18" y="48"/>
                    </a:lnTo>
                    <a:lnTo>
                      <a:pt x="20" y="56"/>
                    </a:lnTo>
                    <a:lnTo>
                      <a:pt x="24" y="62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0" y="72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0" y="82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0" y="72"/>
                    </a:lnTo>
                    <a:lnTo>
                      <a:pt x="4" y="62"/>
                    </a:lnTo>
                    <a:lnTo>
                      <a:pt x="2" y="52"/>
                    </a:lnTo>
                    <a:lnTo>
                      <a:pt x="0" y="42"/>
                    </a:lnTo>
                    <a:lnTo>
                      <a:pt x="2" y="32"/>
                    </a:lnTo>
                    <a:lnTo>
                      <a:pt x="4" y="22"/>
                    </a:lnTo>
                    <a:lnTo>
                      <a:pt x="10" y="1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8" y="14"/>
                    </a:lnTo>
                    <a:lnTo>
                      <a:pt x="28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" name="Freeform 70"/>
              <p:cNvSpPr>
                <a:spLocks noEditPoints="1"/>
              </p:cNvSpPr>
              <p:nvPr/>
            </p:nvSpPr>
            <p:spPr bwMode="auto">
              <a:xfrm>
                <a:off x="10346473" y="-1268495"/>
                <a:ext cx="601237" cy="208851"/>
              </a:xfrm>
              <a:custGeom>
                <a:avLst/>
                <a:gdLst/>
                <a:ahLst/>
                <a:cxnLst>
                  <a:cxn ang="0">
                    <a:pos x="184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2" y="66"/>
                  </a:cxn>
                  <a:cxn ang="0">
                    <a:pos x="6" y="66"/>
                  </a:cxn>
                  <a:cxn ang="0">
                    <a:pos x="184" y="66"/>
                  </a:cxn>
                  <a:cxn ang="0">
                    <a:pos x="184" y="66"/>
                  </a:cxn>
                  <a:cxn ang="0">
                    <a:pos x="188" y="66"/>
                  </a:cxn>
                  <a:cxn ang="0">
                    <a:pos x="190" y="62"/>
                  </a:cxn>
                  <a:cxn ang="0">
                    <a:pos x="190" y="4"/>
                  </a:cxn>
                  <a:cxn ang="0">
                    <a:pos x="190" y="4"/>
                  </a:cxn>
                  <a:cxn ang="0">
                    <a:pos x="188" y="0"/>
                  </a:cxn>
                  <a:cxn ang="0">
                    <a:pos x="184" y="0"/>
                  </a:cxn>
                  <a:cxn ang="0">
                    <a:pos x="184" y="0"/>
                  </a:cxn>
                  <a:cxn ang="0">
                    <a:pos x="36" y="46"/>
                  </a:cxn>
                  <a:cxn ang="0">
                    <a:pos x="36" y="46"/>
                  </a:cxn>
                  <a:cxn ang="0">
                    <a:pos x="28" y="44"/>
                  </a:cxn>
                  <a:cxn ang="0">
                    <a:pos x="22" y="42"/>
                  </a:cxn>
                  <a:cxn ang="0">
                    <a:pos x="18" y="38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8" y="22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42" y="22"/>
                  </a:cxn>
                  <a:cxn ang="0">
                    <a:pos x="48" y="24"/>
                  </a:cxn>
                  <a:cxn ang="0">
                    <a:pos x="52" y="28"/>
                  </a:cxn>
                  <a:cxn ang="0">
                    <a:pos x="54" y="32"/>
                  </a:cxn>
                  <a:cxn ang="0">
                    <a:pos x="54" y="32"/>
                  </a:cxn>
                  <a:cxn ang="0">
                    <a:pos x="52" y="38"/>
                  </a:cxn>
                  <a:cxn ang="0">
                    <a:pos x="48" y="42"/>
                  </a:cxn>
                  <a:cxn ang="0">
                    <a:pos x="42" y="44"/>
                  </a:cxn>
                  <a:cxn ang="0">
                    <a:pos x="36" y="46"/>
                  </a:cxn>
                  <a:cxn ang="0">
                    <a:pos x="36" y="46"/>
                  </a:cxn>
                  <a:cxn ang="0">
                    <a:pos x="172" y="38"/>
                  </a:cxn>
                  <a:cxn ang="0">
                    <a:pos x="172" y="38"/>
                  </a:cxn>
                  <a:cxn ang="0">
                    <a:pos x="172" y="42"/>
                  </a:cxn>
                  <a:cxn ang="0">
                    <a:pos x="168" y="42"/>
                  </a:cxn>
                  <a:cxn ang="0">
                    <a:pos x="86" y="42"/>
                  </a:cxn>
                  <a:cxn ang="0">
                    <a:pos x="86" y="42"/>
                  </a:cxn>
                  <a:cxn ang="0">
                    <a:pos x="84" y="42"/>
                  </a:cxn>
                  <a:cxn ang="0">
                    <a:pos x="82" y="38"/>
                  </a:cxn>
                  <a:cxn ang="0">
                    <a:pos x="82" y="28"/>
                  </a:cxn>
                  <a:cxn ang="0">
                    <a:pos x="82" y="28"/>
                  </a:cxn>
                  <a:cxn ang="0">
                    <a:pos x="84" y="24"/>
                  </a:cxn>
                  <a:cxn ang="0">
                    <a:pos x="86" y="24"/>
                  </a:cxn>
                  <a:cxn ang="0">
                    <a:pos x="168" y="24"/>
                  </a:cxn>
                  <a:cxn ang="0">
                    <a:pos x="168" y="24"/>
                  </a:cxn>
                  <a:cxn ang="0">
                    <a:pos x="172" y="24"/>
                  </a:cxn>
                  <a:cxn ang="0">
                    <a:pos x="172" y="28"/>
                  </a:cxn>
                  <a:cxn ang="0">
                    <a:pos x="172" y="38"/>
                  </a:cxn>
                </a:cxnLst>
                <a:rect l="0" t="0" r="r" b="b"/>
                <a:pathLst>
                  <a:path w="190" h="66">
                    <a:moveTo>
                      <a:pt x="184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66"/>
                    </a:lnTo>
                    <a:lnTo>
                      <a:pt x="6" y="66"/>
                    </a:lnTo>
                    <a:lnTo>
                      <a:pt x="184" y="66"/>
                    </a:lnTo>
                    <a:lnTo>
                      <a:pt x="184" y="66"/>
                    </a:lnTo>
                    <a:lnTo>
                      <a:pt x="188" y="66"/>
                    </a:lnTo>
                    <a:lnTo>
                      <a:pt x="190" y="62"/>
                    </a:lnTo>
                    <a:lnTo>
                      <a:pt x="190" y="4"/>
                    </a:lnTo>
                    <a:lnTo>
                      <a:pt x="190" y="4"/>
                    </a:lnTo>
                    <a:lnTo>
                      <a:pt x="188" y="0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36" y="46"/>
                    </a:moveTo>
                    <a:lnTo>
                      <a:pt x="36" y="46"/>
                    </a:lnTo>
                    <a:lnTo>
                      <a:pt x="28" y="44"/>
                    </a:lnTo>
                    <a:lnTo>
                      <a:pt x="22" y="42"/>
                    </a:lnTo>
                    <a:lnTo>
                      <a:pt x="18" y="38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8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2" y="22"/>
                    </a:lnTo>
                    <a:lnTo>
                      <a:pt x="48" y="24"/>
                    </a:lnTo>
                    <a:lnTo>
                      <a:pt x="52" y="28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2" y="44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172" y="38"/>
                    </a:moveTo>
                    <a:lnTo>
                      <a:pt x="172" y="38"/>
                    </a:lnTo>
                    <a:lnTo>
                      <a:pt x="172" y="42"/>
                    </a:lnTo>
                    <a:lnTo>
                      <a:pt x="168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4" y="42"/>
                    </a:lnTo>
                    <a:lnTo>
                      <a:pt x="82" y="3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4" y="24"/>
                    </a:lnTo>
                    <a:lnTo>
                      <a:pt x="86" y="24"/>
                    </a:lnTo>
                    <a:lnTo>
                      <a:pt x="168" y="24"/>
                    </a:lnTo>
                    <a:lnTo>
                      <a:pt x="168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72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8" name="Freeform 71"/>
              <p:cNvSpPr>
                <a:spLocks/>
              </p:cNvSpPr>
              <p:nvPr/>
            </p:nvSpPr>
            <p:spPr bwMode="auto">
              <a:xfrm>
                <a:off x="10637599" y="-1553291"/>
                <a:ext cx="69617" cy="259481"/>
              </a:xfrm>
              <a:custGeom>
                <a:avLst/>
                <a:gdLst/>
                <a:ahLst/>
                <a:cxnLst>
                  <a:cxn ang="0">
                    <a:pos x="22" y="76"/>
                  </a:cxn>
                  <a:cxn ang="0">
                    <a:pos x="22" y="76"/>
                  </a:cxn>
                  <a:cxn ang="0">
                    <a:pos x="20" y="80"/>
                  </a:cxn>
                  <a:cxn ang="0">
                    <a:pos x="16" y="82"/>
                  </a:cxn>
                  <a:cxn ang="0">
                    <a:pos x="4" y="82"/>
                  </a:cxn>
                  <a:cxn ang="0">
                    <a:pos x="4" y="82"/>
                  </a:cxn>
                  <a:cxn ang="0">
                    <a:pos x="2" y="80"/>
                  </a:cxn>
                  <a:cxn ang="0">
                    <a:pos x="0" y="76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20" y="2"/>
                  </a:cxn>
                  <a:cxn ang="0">
                    <a:pos x="22" y="4"/>
                  </a:cxn>
                  <a:cxn ang="0">
                    <a:pos x="22" y="76"/>
                  </a:cxn>
                </a:cxnLst>
                <a:rect l="0" t="0" r="r" b="b"/>
                <a:pathLst>
                  <a:path w="22" h="82">
                    <a:moveTo>
                      <a:pt x="22" y="76"/>
                    </a:moveTo>
                    <a:lnTo>
                      <a:pt x="22" y="76"/>
                    </a:lnTo>
                    <a:lnTo>
                      <a:pt x="20" y="80"/>
                    </a:lnTo>
                    <a:lnTo>
                      <a:pt x="16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2" y="80"/>
                    </a:lnTo>
                    <a:lnTo>
                      <a:pt x="0" y="7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2" y="4"/>
                    </a:lnTo>
                    <a:lnTo>
                      <a:pt x="22" y="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9" name="组合 118"/>
            <p:cNvGrpSpPr/>
            <p:nvPr/>
          </p:nvGrpSpPr>
          <p:grpSpPr>
            <a:xfrm>
              <a:off x="2125268" y="2807276"/>
              <a:ext cx="393858" cy="438036"/>
              <a:chOff x="12031663" y="1484312"/>
              <a:chExt cx="592137" cy="646113"/>
            </a:xfrm>
            <a:solidFill>
              <a:schemeClr val="bg1"/>
            </a:solidFill>
          </p:grpSpPr>
          <p:sp>
            <p:nvSpPr>
              <p:cNvPr id="120" name="Freeform 77"/>
              <p:cNvSpPr>
                <a:spLocks noEditPoints="1"/>
              </p:cNvSpPr>
              <p:nvPr/>
            </p:nvSpPr>
            <p:spPr bwMode="auto">
              <a:xfrm>
                <a:off x="12031663" y="1484312"/>
                <a:ext cx="592137" cy="646113"/>
              </a:xfrm>
              <a:custGeom>
                <a:avLst/>
                <a:gdLst/>
                <a:ahLst/>
                <a:cxnLst>
                  <a:cxn ang="0">
                    <a:pos x="360" y="13"/>
                  </a:cxn>
                  <a:cxn ang="0">
                    <a:pos x="329" y="0"/>
                  </a:cxn>
                  <a:cxn ang="0">
                    <a:pos x="44" y="0"/>
                  </a:cxn>
                  <a:cxn ang="0">
                    <a:pos x="13" y="13"/>
                  </a:cxn>
                  <a:cxn ang="0">
                    <a:pos x="5" y="26"/>
                  </a:cxn>
                  <a:cxn ang="0">
                    <a:pos x="0" y="264"/>
                  </a:cxn>
                  <a:cxn ang="0">
                    <a:pos x="5" y="282"/>
                  </a:cxn>
                  <a:cxn ang="0">
                    <a:pos x="13" y="295"/>
                  </a:cxn>
                  <a:cxn ang="0">
                    <a:pos x="44" y="308"/>
                  </a:cxn>
                  <a:cxn ang="0">
                    <a:pos x="329" y="308"/>
                  </a:cxn>
                  <a:cxn ang="0">
                    <a:pos x="360" y="295"/>
                  </a:cxn>
                  <a:cxn ang="0">
                    <a:pos x="368" y="282"/>
                  </a:cxn>
                  <a:cxn ang="0">
                    <a:pos x="373" y="39"/>
                  </a:cxn>
                  <a:cxn ang="0">
                    <a:pos x="368" y="26"/>
                  </a:cxn>
                  <a:cxn ang="0">
                    <a:pos x="360" y="13"/>
                  </a:cxn>
                  <a:cxn ang="0">
                    <a:pos x="351" y="264"/>
                  </a:cxn>
                  <a:cxn ang="0">
                    <a:pos x="347" y="282"/>
                  </a:cxn>
                  <a:cxn ang="0">
                    <a:pos x="338" y="286"/>
                  </a:cxn>
                  <a:cxn ang="0">
                    <a:pos x="44" y="286"/>
                  </a:cxn>
                  <a:cxn ang="0">
                    <a:pos x="35" y="286"/>
                  </a:cxn>
                  <a:cxn ang="0">
                    <a:pos x="26" y="282"/>
                  </a:cxn>
                  <a:cxn ang="0">
                    <a:pos x="22" y="264"/>
                  </a:cxn>
                  <a:cxn ang="0">
                    <a:pos x="22" y="39"/>
                  </a:cxn>
                  <a:cxn ang="0">
                    <a:pos x="26" y="26"/>
                  </a:cxn>
                  <a:cxn ang="0">
                    <a:pos x="35" y="22"/>
                  </a:cxn>
                  <a:cxn ang="0">
                    <a:pos x="329" y="22"/>
                  </a:cxn>
                  <a:cxn ang="0">
                    <a:pos x="338" y="22"/>
                  </a:cxn>
                  <a:cxn ang="0">
                    <a:pos x="347" y="26"/>
                  </a:cxn>
                  <a:cxn ang="0">
                    <a:pos x="351" y="39"/>
                  </a:cxn>
                  <a:cxn ang="0">
                    <a:pos x="360" y="312"/>
                  </a:cxn>
                  <a:cxn ang="0">
                    <a:pos x="18" y="312"/>
                  </a:cxn>
                  <a:cxn ang="0">
                    <a:pos x="9" y="316"/>
                  </a:cxn>
                  <a:cxn ang="0">
                    <a:pos x="5" y="394"/>
                  </a:cxn>
                  <a:cxn ang="0">
                    <a:pos x="9" y="403"/>
                  </a:cxn>
                  <a:cxn ang="0">
                    <a:pos x="18" y="407"/>
                  </a:cxn>
                  <a:cxn ang="0">
                    <a:pos x="360" y="407"/>
                  </a:cxn>
                  <a:cxn ang="0">
                    <a:pos x="368" y="403"/>
                  </a:cxn>
                  <a:cxn ang="0">
                    <a:pos x="368" y="325"/>
                  </a:cxn>
                  <a:cxn ang="0">
                    <a:pos x="368" y="316"/>
                  </a:cxn>
                  <a:cxn ang="0">
                    <a:pos x="360" y="312"/>
                  </a:cxn>
                  <a:cxn ang="0">
                    <a:pos x="347" y="385"/>
                  </a:cxn>
                  <a:cxn ang="0">
                    <a:pos x="26" y="333"/>
                  </a:cxn>
                  <a:cxn ang="0">
                    <a:pos x="347" y="385"/>
                  </a:cxn>
                  <a:cxn ang="0">
                    <a:pos x="204" y="377"/>
                  </a:cxn>
                  <a:cxn ang="0">
                    <a:pos x="213" y="372"/>
                  </a:cxn>
                  <a:cxn ang="0">
                    <a:pos x="217" y="368"/>
                  </a:cxn>
                  <a:cxn ang="0">
                    <a:pos x="217" y="355"/>
                  </a:cxn>
                  <a:cxn ang="0">
                    <a:pos x="213" y="346"/>
                  </a:cxn>
                  <a:cxn ang="0">
                    <a:pos x="44" y="346"/>
                  </a:cxn>
                  <a:cxn ang="0">
                    <a:pos x="39" y="346"/>
                  </a:cxn>
                  <a:cxn ang="0">
                    <a:pos x="35" y="355"/>
                  </a:cxn>
                  <a:cxn ang="0">
                    <a:pos x="35" y="368"/>
                  </a:cxn>
                  <a:cxn ang="0">
                    <a:pos x="39" y="372"/>
                  </a:cxn>
                  <a:cxn ang="0">
                    <a:pos x="44" y="377"/>
                  </a:cxn>
                </a:cxnLst>
                <a:rect l="0" t="0" r="r" b="b"/>
                <a:pathLst>
                  <a:path w="373" h="407">
                    <a:moveTo>
                      <a:pt x="360" y="13"/>
                    </a:moveTo>
                    <a:lnTo>
                      <a:pt x="360" y="13"/>
                    </a:lnTo>
                    <a:lnTo>
                      <a:pt x="347" y="5"/>
                    </a:lnTo>
                    <a:lnTo>
                      <a:pt x="329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26" y="5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5" y="26"/>
                    </a:lnTo>
                    <a:lnTo>
                      <a:pt x="0" y="39"/>
                    </a:lnTo>
                    <a:lnTo>
                      <a:pt x="0" y="264"/>
                    </a:lnTo>
                    <a:lnTo>
                      <a:pt x="0" y="264"/>
                    </a:lnTo>
                    <a:lnTo>
                      <a:pt x="5" y="282"/>
                    </a:lnTo>
                    <a:lnTo>
                      <a:pt x="13" y="295"/>
                    </a:lnTo>
                    <a:lnTo>
                      <a:pt x="13" y="295"/>
                    </a:lnTo>
                    <a:lnTo>
                      <a:pt x="26" y="303"/>
                    </a:lnTo>
                    <a:lnTo>
                      <a:pt x="44" y="308"/>
                    </a:lnTo>
                    <a:lnTo>
                      <a:pt x="329" y="308"/>
                    </a:lnTo>
                    <a:lnTo>
                      <a:pt x="329" y="308"/>
                    </a:lnTo>
                    <a:lnTo>
                      <a:pt x="347" y="303"/>
                    </a:lnTo>
                    <a:lnTo>
                      <a:pt x="360" y="295"/>
                    </a:lnTo>
                    <a:lnTo>
                      <a:pt x="360" y="295"/>
                    </a:lnTo>
                    <a:lnTo>
                      <a:pt x="368" y="282"/>
                    </a:lnTo>
                    <a:lnTo>
                      <a:pt x="373" y="264"/>
                    </a:lnTo>
                    <a:lnTo>
                      <a:pt x="373" y="39"/>
                    </a:lnTo>
                    <a:lnTo>
                      <a:pt x="373" y="39"/>
                    </a:lnTo>
                    <a:lnTo>
                      <a:pt x="368" y="26"/>
                    </a:lnTo>
                    <a:lnTo>
                      <a:pt x="360" y="13"/>
                    </a:lnTo>
                    <a:lnTo>
                      <a:pt x="360" y="13"/>
                    </a:lnTo>
                    <a:close/>
                    <a:moveTo>
                      <a:pt x="351" y="264"/>
                    </a:moveTo>
                    <a:lnTo>
                      <a:pt x="351" y="264"/>
                    </a:lnTo>
                    <a:lnTo>
                      <a:pt x="351" y="273"/>
                    </a:lnTo>
                    <a:lnTo>
                      <a:pt x="347" y="282"/>
                    </a:lnTo>
                    <a:lnTo>
                      <a:pt x="347" y="282"/>
                    </a:lnTo>
                    <a:lnTo>
                      <a:pt x="338" y="286"/>
                    </a:lnTo>
                    <a:lnTo>
                      <a:pt x="329" y="286"/>
                    </a:lnTo>
                    <a:lnTo>
                      <a:pt x="44" y="286"/>
                    </a:lnTo>
                    <a:lnTo>
                      <a:pt x="44" y="286"/>
                    </a:lnTo>
                    <a:lnTo>
                      <a:pt x="35" y="286"/>
                    </a:lnTo>
                    <a:lnTo>
                      <a:pt x="26" y="282"/>
                    </a:lnTo>
                    <a:lnTo>
                      <a:pt x="26" y="282"/>
                    </a:lnTo>
                    <a:lnTo>
                      <a:pt x="22" y="273"/>
                    </a:lnTo>
                    <a:lnTo>
                      <a:pt x="22" y="264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22" y="35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5" y="22"/>
                    </a:lnTo>
                    <a:lnTo>
                      <a:pt x="44" y="22"/>
                    </a:lnTo>
                    <a:lnTo>
                      <a:pt x="329" y="22"/>
                    </a:lnTo>
                    <a:lnTo>
                      <a:pt x="329" y="22"/>
                    </a:lnTo>
                    <a:lnTo>
                      <a:pt x="338" y="22"/>
                    </a:lnTo>
                    <a:lnTo>
                      <a:pt x="347" y="26"/>
                    </a:lnTo>
                    <a:lnTo>
                      <a:pt x="347" y="26"/>
                    </a:lnTo>
                    <a:lnTo>
                      <a:pt x="351" y="35"/>
                    </a:lnTo>
                    <a:lnTo>
                      <a:pt x="351" y="39"/>
                    </a:lnTo>
                    <a:lnTo>
                      <a:pt x="351" y="264"/>
                    </a:lnTo>
                    <a:close/>
                    <a:moveTo>
                      <a:pt x="360" y="312"/>
                    </a:moveTo>
                    <a:lnTo>
                      <a:pt x="18" y="312"/>
                    </a:lnTo>
                    <a:lnTo>
                      <a:pt x="18" y="312"/>
                    </a:lnTo>
                    <a:lnTo>
                      <a:pt x="9" y="316"/>
                    </a:lnTo>
                    <a:lnTo>
                      <a:pt x="9" y="316"/>
                    </a:lnTo>
                    <a:lnTo>
                      <a:pt x="5" y="325"/>
                    </a:lnTo>
                    <a:lnTo>
                      <a:pt x="5" y="394"/>
                    </a:lnTo>
                    <a:lnTo>
                      <a:pt x="5" y="394"/>
                    </a:lnTo>
                    <a:lnTo>
                      <a:pt x="9" y="403"/>
                    </a:lnTo>
                    <a:lnTo>
                      <a:pt x="9" y="403"/>
                    </a:lnTo>
                    <a:lnTo>
                      <a:pt x="18" y="407"/>
                    </a:lnTo>
                    <a:lnTo>
                      <a:pt x="360" y="407"/>
                    </a:lnTo>
                    <a:lnTo>
                      <a:pt x="360" y="407"/>
                    </a:lnTo>
                    <a:lnTo>
                      <a:pt x="368" y="403"/>
                    </a:lnTo>
                    <a:lnTo>
                      <a:pt x="368" y="403"/>
                    </a:lnTo>
                    <a:lnTo>
                      <a:pt x="368" y="394"/>
                    </a:lnTo>
                    <a:lnTo>
                      <a:pt x="368" y="325"/>
                    </a:lnTo>
                    <a:lnTo>
                      <a:pt x="368" y="325"/>
                    </a:lnTo>
                    <a:lnTo>
                      <a:pt x="368" y="316"/>
                    </a:lnTo>
                    <a:lnTo>
                      <a:pt x="368" y="316"/>
                    </a:lnTo>
                    <a:lnTo>
                      <a:pt x="360" y="312"/>
                    </a:lnTo>
                    <a:lnTo>
                      <a:pt x="360" y="312"/>
                    </a:lnTo>
                    <a:close/>
                    <a:moveTo>
                      <a:pt x="347" y="385"/>
                    </a:moveTo>
                    <a:lnTo>
                      <a:pt x="26" y="385"/>
                    </a:lnTo>
                    <a:lnTo>
                      <a:pt x="26" y="333"/>
                    </a:lnTo>
                    <a:lnTo>
                      <a:pt x="347" y="333"/>
                    </a:lnTo>
                    <a:lnTo>
                      <a:pt x="347" y="385"/>
                    </a:lnTo>
                    <a:close/>
                    <a:moveTo>
                      <a:pt x="44" y="377"/>
                    </a:moveTo>
                    <a:lnTo>
                      <a:pt x="204" y="377"/>
                    </a:lnTo>
                    <a:lnTo>
                      <a:pt x="204" y="377"/>
                    </a:lnTo>
                    <a:lnTo>
                      <a:pt x="213" y="372"/>
                    </a:lnTo>
                    <a:lnTo>
                      <a:pt x="213" y="372"/>
                    </a:lnTo>
                    <a:lnTo>
                      <a:pt x="217" y="368"/>
                    </a:lnTo>
                    <a:lnTo>
                      <a:pt x="217" y="355"/>
                    </a:lnTo>
                    <a:lnTo>
                      <a:pt x="217" y="355"/>
                    </a:lnTo>
                    <a:lnTo>
                      <a:pt x="213" y="346"/>
                    </a:lnTo>
                    <a:lnTo>
                      <a:pt x="213" y="346"/>
                    </a:lnTo>
                    <a:lnTo>
                      <a:pt x="204" y="346"/>
                    </a:lnTo>
                    <a:lnTo>
                      <a:pt x="44" y="346"/>
                    </a:lnTo>
                    <a:lnTo>
                      <a:pt x="44" y="346"/>
                    </a:lnTo>
                    <a:lnTo>
                      <a:pt x="39" y="346"/>
                    </a:lnTo>
                    <a:lnTo>
                      <a:pt x="39" y="346"/>
                    </a:lnTo>
                    <a:lnTo>
                      <a:pt x="35" y="355"/>
                    </a:lnTo>
                    <a:lnTo>
                      <a:pt x="35" y="368"/>
                    </a:lnTo>
                    <a:lnTo>
                      <a:pt x="35" y="368"/>
                    </a:lnTo>
                    <a:lnTo>
                      <a:pt x="39" y="372"/>
                    </a:lnTo>
                    <a:lnTo>
                      <a:pt x="39" y="372"/>
                    </a:lnTo>
                    <a:lnTo>
                      <a:pt x="44" y="377"/>
                    </a:lnTo>
                    <a:lnTo>
                      <a:pt x="44" y="37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1" name="Freeform 78"/>
              <p:cNvSpPr>
                <a:spLocks noEditPoints="1"/>
              </p:cNvSpPr>
              <p:nvPr/>
            </p:nvSpPr>
            <p:spPr bwMode="auto">
              <a:xfrm>
                <a:off x="12142788" y="1546225"/>
                <a:ext cx="369887" cy="365125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34" y="35"/>
                  </a:cxn>
                  <a:cxn ang="0">
                    <a:pos x="4" y="91"/>
                  </a:cxn>
                  <a:cxn ang="0">
                    <a:pos x="4" y="139"/>
                  </a:cxn>
                  <a:cxn ang="0">
                    <a:pos x="34" y="199"/>
                  </a:cxn>
                  <a:cxn ang="0">
                    <a:pos x="95" y="230"/>
                  </a:cxn>
                  <a:cxn ang="0">
                    <a:pos x="138" y="230"/>
                  </a:cxn>
                  <a:cxn ang="0">
                    <a:pos x="199" y="199"/>
                  </a:cxn>
                  <a:cxn ang="0">
                    <a:pos x="229" y="139"/>
                  </a:cxn>
                  <a:cxn ang="0">
                    <a:pos x="229" y="91"/>
                  </a:cxn>
                  <a:cxn ang="0">
                    <a:pos x="199" y="35"/>
                  </a:cxn>
                  <a:cxn ang="0">
                    <a:pos x="138" y="0"/>
                  </a:cxn>
                  <a:cxn ang="0">
                    <a:pos x="95" y="221"/>
                  </a:cxn>
                  <a:cxn ang="0">
                    <a:pos x="73" y="178"/>
                  </a:cxn>
                  <a:cxn ang="0">
                    <a:pos x="112" y="221"/>
                  </a:cxn>
                  <a:cxn ang="0">
                    <a:pos x="8" y="121"/>
                  </a:cxn>
                  <a:cxn ang="0">
                    <a:pos x="56" y="143"/>
                  </a:cxn>
                  <a:cxn ang="0">
                    <a:pos x="21" y="169"/>
                  </a:cxn>
                  <a:cxn ang="0">
                    <a:pos x="8" y="121"/>
                  </a:cxn>
                  <a:cxn ang="0">
                    <a:pos x="121" y="9"/>
                  </a:cxn>
                  <a:cxn ang="0">
                    <a:pos x="147" y="30"/>
                  </a:cxn>
                  <a:cxn ang="0">
                    <a:pos x="160" y="65"/>
                  </a:cxn>
                  <a:cxn ang="0">
                    <a:pos x="169" y="113"/>
                  </a:cxn>
                  <a:cxn ang="0">
                    <a:pos x="160" y="65"/>
                  </a:cxn>
                  <a:cxn ang="0">
                    <a:pos x="73" y="56"/>
                  </a:cxn>
                  <a:cxn ang="0">
                    <a:pos x="95" y="9"/>
                  </a:cxn>
                  <a:cxn ang="0">
                    <a:pos x="112" y="65"/>
                  </a:cxn>
                  <a:cxn ang="0">
                    <a:pos x="60" y="113"/>
                  </a:cxn>
                  <a:cxn ang="0">
                    <a:pos x="112" y="65"/>
                  </a:cxn>
                  <a:cxn ang="0">
                    <a:pos x="8" y="113"/>
                  </a:cxn>
                  <a:cxn ang="0">
                    <a:pos x="60" y="65"/>
                  </a:cxn>
                  <a:cxn ang="0">
                    <a:pos x="56" y="113"/>
                  </a:cxn>
                  <a:cxn ang="0">
                    <a:pos x="112" y="121"/>
                  </a:cxn>
                  <a:cxn ang="0">
                    <a:pos x="69" y="169"/>
                  </a:cxn>
                  <a:cxn ang="0">
                    <a:pos x="60" y="121"/>
                  </a:cxn>
                  <a:cxn ang="0">
                    <a:pos x="160" y="178"/>
                  </a:cxn>
                  <a:cxn ang="0">
                    <a:pos x="134" y="221"/>
                  </a:cxn>
                  <a:cxn ang="0">
                    <a:pos x="121" y="169"/>
                  </a:cxn>
                  <a:cxn ang="0">
                    <a:pos x="169" y="121"/>
                  </a:cxn>
                  <a:cxn ang="0">
                    <a:pos x="121" y="169"/>
                  </a:cxn>
                  <a:cxn ang="0">
                    <a:pos x="225" y="121"/>
                  </a:cxn>
                  <a:cxn ang="0">
                    <a:pos x="212" y="169"/>
                  </a:cxn>
                  <a:cxn ang="0">
                    <a:pos x="177" y="143"/>
                  </a:cxn>
                  <a:cxn ang="0">
                    <a:pos x="177" y="113"/>
                  </a:cxn>
                  <a:cxn ang="0">
                    <a:pos x="169" y="65"/>
                  </a:cxn>
                  <a:cxn ang="0">
                    <a:pos x="220" y="87"/>
                  </a:cxn>
                  <a:cxn ang="0">
                    <a:pos x="207" y="56"/>
                  </a:cxn>
                  <a:cxn ang="0">
                    <a:pos x="160" y="30"/>
                  </a:cxn>
                  <a:cxn ang="0">
                    <a:pos x="173" y="22"/>
                  </a:cxn>
                  <a:cxn ang="0">
                    <a:pos x="207" y="56"/>
                  </a:cxn>
                  <a:cxn ang="0">
                    <a:pos x="43" y="39"/>
                  </a:cxn>
                  <a:cxn ang="0">
                    <a:pos x="86" y="13"/>
                  </a:cxn>
                  <a:cxn ang="0">
                    <a:pos x="30" y="56"/>
                  </a:cxn>
                  <a:cxn ang="0">
                    <a:pos x="43" y="39"/>
                  </a:cxn>
                  <a:cxn ang="0">
                    <a:pos x="65" y="178"/>
                  </a:cxn>
                  <a:cxn ang="0">
                    <a:pos x="86" y="217"/>
                  </a:cxn>
                  <a:cxn ang="0">
                    <a:pos x="43" y="191"/>
                  </a:cxn>
                  <a:cxn ang="0">
                    <a:pos x="194" y="191"/>
                  </a:cxn>
                  <a:cxn ang="0">
                    <a:pos x="147" y="221"/>
                  </a:cxn>
                  <a:cxn ang="0">
                    <a:pos x="169" y="178"/>
                  </a:cxn>
                  <a:cxn ang="0">
                    <a:pos x="194" y="191"/>
                  </a:cxn>
                </a:cxnLst>
                <a:rect l="0" t="0" r="r" b="b"/>
                <a:pathLst>
                  <a:path w="233" h="230">
                    <a:moveTo>
                      <a:pt x="117" y="0"/>
                    </a:moveTo>
                    <a:lnTo>
                      <a:pt x="117" y="0"/>
                    </a:lnTo>
                    <a:lnTo>
                      <a:pt x="95" y="0"/>
                    </a:lnTo>
                    <a:lnTo>
                      <a:pt x="73" y="9"/>
                    </a:lnTo>
                    <a:lnTo>
                      <a:pt x="52" y="22"/>
                    </a:lnTo>
                    <a:lnTo>
                      <a:pt x="34" y="35"/>
                    </a:lnTo>
                    <a:lnTo>
                      <a:pt x="21" y="52"/>
                    </a:lnTo>
                    <a:lnTo>
                      <a:pt x="8" y="69"/>
                    </a:lnTo>
                    <a:lnTo>
                      <a:pt x="4" y="91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4" y="139"/>
                    </a:lnTo>
                    <a:lnTo>
                      <a:pt x="8" y="160"/>
                    </a:lnTo>
                    <a:lnTo>
                      <a:pt x="21" y="182"/>
                    </a:lnTo>
                    <a:lnTo>
                      <a:pt x="34" y="199"/>
                    </a:lnTo>
                    <a:lnTo>
                      <a:pt x="52" y="212"/>
                    </a:lnTo>
                    <a:lnTo>
                      <a:pt x="73" y="221"/>
                    </a:lnTo>
                    <a:lnTo>
                      <a:pt x="95" y="230"/>
                    </a:lnTo>
                    <a:lnTo>
                      <a:pt x="117" y="230"/>
                    </a:lnTo>
                    <a:lnTo>
                      <a:pt x="117" y="230"/>
                    </a:lnTo>
                    <a:lnTo>
                      <a:pt x="138" y="230"/>
                    </a:lnTo>
                    <a:lnTo>
                      <a:pt x="160" y="221"/>
                    </a:lnTo>
                    <a:lnTo>
                      <a:pt x="182" y="212"/>
                    </a:lnTo>
                    <a:lnTo>
                      <a:pt x="199" y="199"/>
                    </a:lnTo>
                    <a:lnTo>
                      <a:pt x="212" y="182"/>
                    </a:lnTo>
                    <a:lnTo>
                      <a:pt x="225" y="160"/>
                    </a:lnTo>
                    <a:lnTo>
                      <a:pt x="229" y="139"/>
                    </a:lnTo>
                    <a:lnTo>
                      <a:pt x="233" y="117"/>
                    </a:lnTo>
                    <a:lnTo>
                      <a:pt x="233" y="117"/>
                    </a:lnTo>
                    <a:lnTo>
                      <a:pt x="229" y="91"/>
                    </a:lnTo>
                    <a:lnTo>
                      <a:pt x="225" y="69"/>
                    </a:lnTo>
                    <a:lnTo>
                      <a:pt x="212" y="52"/>
                    </a:lnTo>
                    <a:lnTo>
                      <a:pt x="199" y="35"/>
                    </a:lnTo>
                    <a:lnTo>
                      <a:pt x="182" y="22"/>
                    </a:lnTo>
                    <a:lnTo>
                      <a:pt x="160" y="9"/>
                    </a:lnTo>
                    <a:lnTo>
                      <a:pt x="138" y="0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  <a:moveTo>
                      <a:pt x="95" y="221"/>
                    </a:moveTo>
                    <a:lnTo>
                      <a:pt x="95" y="221"/>
                    </a:lnTo>
                    <a:lnTo>
                      <a:pt x="82" y="199"/>
                    </a:lnTo>
                    <a:lnTo>
                      <a:pt x="73" y="178"/>
                    </a:lnTo>
                    <a:lnTo>
                      <a:pt x="112" y="178"/>
                    </a:lnTo>
                    <a:lnTo>
                      <a:pt x="112" y="221"/>
                    </a:lnTo>
                    <a:lnTo>
                      <a:pt x="112" y="221"/>
                    </a:lnTo>
                    <a:lnTo>
                      <a:pt x="95" y="221"/>
                    </a:lnTo>
                    <a:lnTo>
                      <a:pt x="95" y="221"/>
                    </a:lnTo>
                    <a:close/>
                    <a:moveTo>
                      <a:pt x="8" y="121"/>
                    </a:moveTo>
                    <a:lnTo>
                      <a:pt x="56" y="121"/>
                    </a:lnTo>
                    <a:lnTo>
                      <a:pt x="56" y="121"/>
                    </a:lnTo>
                    <a:lnTo>
                      <a:pt x="56" y="143"/>
                    </a:lnTo>
                    <a:lnTo>
                      <a:pt x="60" y="169"/>
                    </a:lnTo>
                    <a:lnTo>
                      <a:pt x="21" y="169"/>
                    </a:lnTo>
                    <a:lnTo>
                      <a:pt x="21" y="169"/>
                    </a:lnTo>
                    <a:lnTo>
                      <a:pt x="13" y="143"/>
                    </a:lnTo>
                    <a:lnTo>
                      <a:pt x="8" y="121"/>
                    </a:lnTo>
                    <a:lnTo>
                      <a:pt x="8" y="121"/>
                    </a:lnTo>
                    <a:close/>
                    <a:moveTo>
                      <a:pt x="121" y="56"/>
                    </a:moveTo>
                    <a:lnTo>
                      <a:pt x="121" y="9"/>
                    </a:lnTo>
                    <a:lnTo>
                      <a:pt x="121" y="9"/>
                    </a:lnTo>
                    <a:lnTo>
                      <a:pt x="134" y="9"/>
                    </a:lnTo>
                    <a:lnTo>
                      <a:pt x="134" y="9"/>
                    </a:lnTo>
                    <a:lnTo>
                      <a:pt x="147" y="30"/>
                    </a:lnTo>
                    <a:lnTo>
                      <a:pt x="160" y="56"/>
                    </a:lnTo>
                    <a:lnTo>
                      <a:pt x="121" y="56"/>
                    </a:lnTo>
                    <a:close/>
                    <a:moveTo>
                      <a:pt x="160" y="65"/>
                    </a:moveTo>
                    <a:lnTo>
                      <a:pt x="160" y="65"/>
                    </a:lnTo>
                    <a:lnTo>
                      <a:pt x="169" y="87"/>
                    </a:lnTo>
                    <a:lnTo>
                      <a:pt x="169" y="113"/>
                    </a:lnTo>
                    <a:lnTo>
                      <a:pt x="121" y="113"/>
                    </a:lnTo>
                    <a:lnTo>
                      <a:pt x="121" y="65"/>
                    </a:lnTo>
                    <a:lnTo>
                      <a:pt x="160" y="65"/>
                    </a:lnTo>
                    <a:close/>
                    <a:moveTo>
                      <a:pt x="112" y="56"/>
                    </a:moveTo>
                    <a:lnTo>
                      <a:pt x="73" y="56"/>
                    </a:lnTo>
                    <a:lnTo>
                      <a:pt x="73" y="56"/>
                    </a:lnTo>
                    <a:lnTo>
                      <a:pt x="82" y="30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112" y="9"/>
                    </a:lnTo>
                    <a:lnTo>
                      <a:pt x="112" y="56"/>
                    </a:lnTo>
                    <a:close/>
                    <a:moveTo>
                      <a:pt x="112" y="65"/>
                    </a:moveTo>
                    <a:lnTo>
                      <a:pt x="112" y="113"/>
                    </a:lnTo>
                    <a:lnTo>
                      <a:pt x="60" y="113"/>
                    </a:lnTo>
                    <a:lnTo>
                      <a:pt x="60" y="113"/>
                    </a:lnTo>
                    <a:lnTo>
                      <a:pt x="65" y="87"/>
                    </a:lnTo>
                    <a:lnTo>
                      <a:pt x="69" y="65"/>
                    </a:lnTo>
                    <a:lnTo>
                      <a:pt x="112" y="65"/>
                    </a:lnTo>
                    <a:close/>
                    <a:moveTo>
                      <a:pt x="56" y="113"/>
                    </a:moveTo>
                    <a:lnTo>
                      <a:pt x="8" y="113"/>
                    </a:lnTo>
                    <a:lnTo>
                      <a:pt x="8" y="113"/>
                    </a:lnTo>
                    <a:lnTo>
                      <a:pt x="13" y="87"/>
                    </a:lnTo>
                    <a:lnTo>
                      <a:pt x="21" y="65"/>
                    </a:lnTo>
                    <a:lnTo>
                      <a:pt x="60" y="65"/>
                    </a:lnTo>
                    <a:lnTo>
                      <a:pt x="60" y="65"/>
                    </a:lnTo>
                    <a:lnTo>
                      <a:pt x="56" y="87"/>
                    </a:lnTo>
                    <a:lnTo>
                      <a:pt x="56" y="113"/>
                    </a:lnTo>
                    <a:lnTo>
                      <a:pt x="56" y="113"/>
                    </a:lnTo>
                    <a:close/>
                    <a:moveTo>
                      <a:pt x="60" y="121"/>
                    </a:moveTo>
                    <a:lnTo>
                      <a:pt x="112" y="121"/>
                    </a:lnTo>
                    <a:lnTo>
                      <a:pt x="112" y="169"/>
                    </a:lnTo>
                    <a:lnTo>
                      <a:pt x="69" y="169"/>
                    </a:lnTo>
                    <a:lnTo>
                      <a:pt x="69" y="169"/>
                    </a:lnTo>
                    <a:lnTo>
                      <a:pt x="65" y="143"/>
                    </a:lnTo>
                    <a:lnTo>
                      <a:pt x="60" y="121"/>
                    </a:lnTo>
                    <a:lnTo>
                      <a:pt x="60" y="121"/>
                    </a:lnTo>
                    <a:close/>
                    <a:moveTo>
                      <a:pt x="121" y="178"/>
                    </a:moveTo>
                    <a:lnTo>
                      <a:pt x="160" y="178"/>
                    </a:lnTo>
                    <a:lnTo>
                      <a:pt x="160" y="178"/>
                    </a:lnTo>
                    <a:lnTo>
                      <a:pt x="147" y="199"/>
                    </a:lnTo>
                    <a:lnTo>
                      <a:pt x="134" y="221"/>
                    </a:lnTo>
                    <a:lnTo>
                      <a:pt x="134" y="221"/>
                    </a:lnTo>
                    <a:lnTo>
                      <a:pt x="121" y="221"/>
                    </a:lnTo>
                    <a:lnTo>
                      <a:pt x="121" y="178"/>
                    </a:lnTo>
                    <a:close/>
                    <a:moveTo>
                      <a:pt x="121" y="169"/>
                    </a:moveTo>
                    <a:lnTo>
                      <a:pt x="121" y="121"/>
                    </a:lnTo>
                    <a:lnTo>
                      <a:pt x="169" y="121"/>
                    </a:lnTo>
                    <a:lnTo>
                      <a:pt x="169" y="121"/>
                    </a:lnTo>
                    <a:lnTo>
                      <a:pt x="169" y="143"/>
                    </a:lnTo>
                    <a:lnTo>
                      <a:pt x="160" y="169"/>
                    </a:lnTo>
                    <a:lnTo>
                      <a:pt x="121" y="169"/>
                    </a:lnTo>
                    <a:close/>
                    <a:moveTo>
                      <a:pt x="177" y="121"/>
                    </a:moveTo>
                    <a:lnTo>
                      <a:pt x="225" y="121"/>
                    </a:lnTo>
                    <a:lnTo>
                      <a:pt x="225" y="121"/>
                    </a:lnTo>
                    <a:lnTo>
                      <a:pt x="220" y="147"/>
                    </a:lnTo>
                    <a:lnTo>
                      <a:pt x="212" y="169"/>
                    </a:lnTo>
                    <a:lnTo>
                      <a:pt x="212" y="169"/>
                    </a:lnTo>
                    <a:lnTo>
                      <a:pt x="169" y="169"/>
                    </a:lnTo>
                    <a:lnTo>
                      <a:pt x="169" y="169"/>
                    </a:lnTo>
                    <a:lnTo>
                      <a:pt x="177" y="143"/>
                    </a:lnTo>
                    <a:lnTo>
                      <a:pt x="177" y="121"/>
                    </a:lnTo>
                    <a:lnTo>
                      <a:pt x="177" y="121"/>
                    </a:lnTo>
                    <a:close/>
                    <a:moveTo>
                      <a:pt x="177" y="113"/>
                    </a:moveTo>
                    <a:lnTo>
                      <a:pt x="177" y="113"/>
                    </a:lnTo>
                    <a:lnTo>
                      <a:pt x="177" y="87"/>
                    </a:lnTo>
                    <a:lnTo>
                      <a:pt x="169" y="65"/>
                    </a:lnTo>
                    <a:lnTo>
                      <a:pt x="212" y="65"/>
                    </a:lnTo>
                    <a:lnTo>
                      <a:pt x="212" y="65"/>
                    </a:lnTo>
                    <a:lnTo>
                      <a:pt x="220" y="87"/>
                    </a:lnTo>
                    <a:lnTo>
                      <a:pt x="225" y="113"/>
                    </a:lnTo>
                    <a:lnTo>
                      <a:pt x="177" y="113"/>
                    </a:lnTo>
                    <a:close/>
                    <a:moveTo>
                      <a:pt x="207" y="56"/>
                    </a:moveTo>
                    <a:lnTo>
                      <a:pt x="169" y="56"/>
                    </a:lnTo>
                    <a:lnTo>
                      <a:pt x="169" y="56"/>
                    </a:lnTo>
                    <a:lnTo>
                      <a:pt x="160" y="30"/>
                    </a:lnTo>
                    <a:lnTo>
                      <a:pt x="147" y="13"/>
                    </a:lnTo>
                    <a:lnTo>
                      <a:pt x="147" y="13"/>
                    </a:lnTo>
                    <a:lnTo>
                      <a:pt x="173" y="22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207" y="56"/>
                    </a:lnTo>
                    <a:lnTo>
                      <a:pt x="207" y="56"/>
                    </a:lnTo>
                    <a:close/>
                    <a:moveTo>
                      <a:pt x="43" y="39"/>
                    </a:moveTo>
                    <a:lnTo>
                      <a:pt x="43" y="39"/>
                    </a:lnTo>
                    <a:lnTo>
                      <a:pt x="60" y="22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73" y="35"/>
                    </a:lnTo>
                    <a:lnTo>
                      <a:pt x="65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43" y="39"/>
                    </a:lnTo>
                    <a:lnTo>
                      <a:pt x="43" y="39"/>
                    </a:lnTo>
                    <a:close/>
                    <a:moveTo>
                      <a:pt x="30" y="178"/>
                    </a:moveTo>
                    <a:lnTo>
                      <a:pt x="65" y="178"/>
                    </a:lnTo>
                    <a:lnTo>
                      <a:pt x="65" y="178"/>
                    </a:lnTo>
                    <a:lnTo>
                      <a:pt x="73" y="199"/>
                    </a:lnTo>
                    <a:lnTo>
                      <a:pt x="86" y="217"/>
                    </a:lnTo>
                    <a:lnTo>
                      <a:pt x="86" y="217"/>
                    </a:lnTo>
                    <a:lnTo>
                      <a:pt x="60" y="208"/>
                    </a:lnTo>
                    <a:lnTo>
                      <a:pt x="43" y="191"/>
                    </a:lnTo>
                    <a:lnTo>
                      <a:pt x="43" y="191"/>
                    </a:lnTo>
                    <a:lnTo>
                      <a:pt x="30" y="178"/>
                    </a:lnTo>
                    <a:lnTo>
                      <a:pt x="30" y="178"/>
                    </a:lnTo>
                    <a:close/>
                    <a:moveTo>
                      <a:pt x="194" y="191"/>
                    </a:moveTo>
                    <a:lnTo>
                      <a:pt x="194" y="191"/>
                    </a:lnTo>
                    <a:lnTo>
                      <a:pt x="173" y="208"/>
                    </a:lnTo>
                    <a:lnTo>
                      <a:pt x="147" y="221"/>
                    </a:lnTo>
                    <a:lnTo>
                      <a:pt x="147" y="221"/>
                    </a:lnTo>
                    <a:lnTo>
                      <a:pt x="160" y="199"/>
                    </a:lnTo>
                    <a:lnTo>
                      <a:pt x="169" y="178"/>
                    </a:lnTo>
                    <a:lnTo>
                      <a:pt x="207" y="178"/>
                    </a:lnTo>
                    <a:lnTo>
                      <a:pt x="207" y="178"/>
                    </a:lnTo>
                    <a:lnTo>
                      <a:pt x="194" y="191"/>
                    </a:lnTo>
                    <a:lnTo>
                      <a:pt x="194" y="19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2" name="组合 121"/>
            <p:cNvGrpSpPr/>
            <p:nvPr/>
          </p:nvGrpSpPr>
          <p:grpSpPr>
            <a:xfrm>
              <a:off x="1702133" y="1639875"/>
              <a:ext cx="587964" cy="303531"/>
              <a:chOff x="16573500" y="5078412"/>
              <a:chExt cx="879475" cy="404813"/>
            </a:xfrm>
            <a:solidFill>
              <a:schemeClr val="bg1"/>
            </a:solidFill>
          </p:grpSpPr>
          <p:sp>
            <p:nvSpPr>
              <p:cNvPr id="123" name="Freeform 128"/>
              <p:cNvSpPr>
                <a:spLocks noEditPoints="1"/>
              </p:cNvSpPr>
              <p:nvPr/>
            </p:nvSpPr>
            <p:spPr bwMode="auto">
              <a:xfrm>
                <a:off x="16986250" y="5078412"/>
                <a:ext cx="466725" cy="404813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48" y="35"/>
                  </a:cxn>
                  <a:cxn ang="0">
                    <a:pos x="43" y="69"/>
                  </a:cxn>
                  <a:cxn ang="0">
                    <a:pos x="39" y="112"/>
                  </a:cxn>
                  <a:cxn ang="0">
                    <a:pos x="39" y="130"/>
                  </a:cxn>
                  <a:cxn ang="0">
                    <a:pos x="39" y="138"/>
                  </a:cxn>
                  <a:cxn ang="0">
                    <a:pos x="30" y="199"/>
                  </a:cxn>
                  <a:cxn ang="0">
                    <a:pos x="9" y="242"/>
                  </a:cxn>
                  <a:cxn ang="0">
                    <a:pos x="0" y="255"/>
                  </a:cxn>
                  <a:cxn ang="0">
                    <a:pos x="165" y="255"/>
                  </a:cxn>
                  <a:cxn ang="0">
                    <a:pos x="216" y="247"/>
                  </a:cxn>
                  <a:cxn ang="0">
                    <a:pos x="255" y="221"/>
                  </a:cxn>
                  <a:cxn ang="0">
                    <a:pos x="281" y="177"/>
                  </a:cxn>
                  <a:cxn ang="0">
                    <a:pos x="294" y="130"/>
                  </a:cxn>
                  <a:cxn ang="0">
                    <a:pos x="290" y="104"/>
                  </a:cxn>
                  <a:cxn ang="0">
                    <a:pos x="273" y="56"/>
                  </a:cxn>
                  <a:cxn ang="0">
                    <a:pos x="238" y="22"/>
                  </a:cxn>
                  <a:cxn ang="0">
                    <a:pos x="190" y="4"/>
                  </a:cxn>
                  <a:cxn ang="0">
                    <a:pos x="165" y="0"/>
                  </a:cxn>
                  <a:cxn ang="0">
                    <a:pos x="134" y="95"/>
                  </a:cxn>
                  <a:cxn ang="0">
                    <a:pos x="117" y="104"/>
                  </a:cxn>
                  <a:cxn ang="0">
                    <a:pos x="113" y="108"/>
                  </a:cxn>
                  <a:cxn ang="0">
                    <a:pos x="121" y="117"/>
                  </a:cxn>
                  <a:cxn ang="0">
                    <a:pos x="134" y="121"/>
                  </a:cxn>
                  <a:cxn ang="0">
                    <a:pos x="152" y="125"/>
                  </a:cxn>
                  <a:cxn ang="0">
                    <a:pos x="156" y="130"/>
                  </a:cxn>
                  <a:cxn ang="0">
                    <a:pos x="147" y="138"/>
                  </a:cxn>
                  <a:cxn ang="0">
                    <a:pos x="134" y="143"/>
                  </a:cxn>
                  <a:cxn ang="0">
                    <a:pos x="121" y="147"/>
                  </a:cxn>
                  <a:cxn ang="0">
                    <a:pos x="113" y="164"/>
                  </a:cxn>
                  <a:cxn ang="0">
                    <a:pos x="108" y="182"/>
                  </a:cxn>
                  <a:cxn ang="0">
                    <a:pos x="100" y="186"/>
                  </a:cxn>
                  <a:cxn ang="0">
                    <a:pos x="95" y="186"/>
                  </a:cxn>
                  <a:cxn ang="0">
                    <a:pos x="87" y="156"/>
                  </a:cxn>
                  <a:cxn ang="0">
                    <a:pos x="87" y="104"/>
                  </a:cxn>
                  <a:cxn ang="0">
                    <a:pos x="95" y="82"/>
                  </a:cxn>
                  <a:cxn ang="0">
                    <a:pos x="121" y="74"/>
                  </a:cxn>
                  <a:cxn ang="0">
                    <a:pos x="126" y="74"/>
                  </a:cxn>
                  <a:cxn ang="0">
                    <a:pos x="156" y="82"/>
                  </a:cxn>
                  <a:cxn ang="0">
                    <a:pos x="156" y="87"/>
                  </a:cxn>
                  <a:cxn ang="0">
                    <a:pos x="152" y="91"/>
                  </a:cxn>
                  <a:cxn ang="0">
                    <a:pos x="134" y="95"/>
                  </a:cxn>
                  <a:cxn ang="0">
                    <a:pos x="199" y="156"/>
                  </a:cxn>
                  <a:cxn ang="0">
                    <a:pos x="190" y="186"/>
                  </a:cxn>
                  <a:cxn ang="0">
                    <a:pos x="186" y="186"/>
                  </a:cxn>
                  <a:cxn ang="0">
                    <a:pos x="178" y="177"/>
                  </a:cxn>
                  <a:cxn ang="0">
                    <a:pos x="173" y="138"/>
                  </a:cxn>
                  <a:cxn ang="0">
                    <a:pos x="178" y="112"/>
                  </a:cxn>
                  <a:cxn ang="0">
                    <a:pos x="186" y="104"/>
                  </a:cxn>
                  <a:cxn ang="0">
                    <a:pos x="190" y="108"/>
                  </a:cxn>
                  <a:cxn ang="0">
                    <a:pos x="199" y="138"/>
                  </a:cxn>
                  <a:cxn ang="0">
                    <a:pos x="186" y="95"/>
                  </a:cxn>
                  <a:cxn ang="0">
                    <a:pos x="178" y="91"/>
                  </a:cxn>
                  <a:cxn ang="0">
                    <a:pos x="173" y="82"/>
                  </a:cxn>
                  <a:cxn ang="0">
                    <a:pos x="186" y="69"/>
                  </a:cxn>
                  <a:cxn ang="0">
                    <a:pos x="195" y="74"/>
                  </a:cxn>
                  <a:cxn ang="0">
                    <a:pos x="199" y="82"/>
                  </a:cxn>
                  <a:cxn ang="0">
                    <a:pos x="186" y="95"/>
                  </a:cxn>
                </a:cxnLst>
                <a:rect l="0" t="0" r="r" b="b"/>
                <a:pathLst>
                  <a:path w="294" h="255">
                    <a:moveTo>
                      <a:pt x="165" y="0"/>
                    </a:moveTo>
                    <a:lnTo>
                      <a:pt x="61" y="0"/>
                    </a:lnTo>
                    <a:lnTo>
                      <a:pt x="61" y="0"/>
                    </a:lnTo>
                    <a:lnTo>
                      <a:pt x="48" y="35"/>
                    </a:lnTo>
                    <a:lnTo>
                      <a:pt x="48" y="35"/>
                    </a:lnTo>
                    <a:lnTo>
                      <a:pt x="43" y="69"/>
                    </a:lnTo>
                    <a:lnTo>
                      <a:pt x="39" y="112"/>
                    </a:lnTo>
                    <a:lnTo>
                      <a:pt x="39" y="112"/>
                    </a:lnTo>
                    <a:lnTo>
                      <a:pt x="39" y="130"/>
                    </a:lnTo>
                    <a:lnTo>
                      <a:pt x="39" y="130"/>
                    </a:lnTo>
                    <a:lnTo>
                      <a:pt x="39" y="138"/>
                    </a:lnTo>
                    <a:lnTo>
                      <a:pt x="39" y="138"/>
                    </a:lnTo>
                    <a:lnTo>
                      <a:pt x="39" y="173"/>
                    </a:lnTo>
                    <a:lnTo>
                      <a:pt x="30" y="199"/>
                    </a:lnTo>
                    <a:lnTo>
                      <a:pt x="22" y="225"/>
                    </a:lnTo>
                    <a:lnTo>
                      <a:pt x="9" y="242"/>
                    </a:lnTo>
                    <a:lnTo>
                      <a:pt x="9" y="242"/>
                    </a:lnTo>
                    <a:lnTo>
                      <a:pt x="0" y="255"/>
                    </a:lnTo>
                    <a:lnTo>
                      <a:pt x="165" y="255"/>
                    </a:lnTo>
                    <a:lnTo>
                      <a:pt x="165" y="255"/>
                    </a:lnTo>
                    <a:lnTo>
                      <a:pt x="190" y="255"/>
                    </a:lnTo>
                    <a:lnTo>
                      <a:pt x="216" y="247"/>
                    </a:lnTo>
                    <a:lnTo>
                      <a:pt x="238" y="234"/>
                    </a:lnTo>
                    <a:lnTo>
                      <a:pt x="255" y="221"/>
                    </a:lnTo>
                    <a:lnTo>
                      <a:pt x="273" y="199"/>
                    </a:lnTo>
                    <a:lnTo>
                      <a:pt x="281" y="177"/>
                    </a:lnTo>
                    <a:lnTo>
                      <a:pt x="290" y="156"/>
                    </a:lnTo>
                    <a:lnTo>
                      <a:pt x="294" y="130"/>
                    </a:lnTo>
                    <a:lnTo>
                      <a:pt x="294" y="130"/>
                    </a:lnTo>
                    <a:lnTo>
                      <a:pt x="290" y="104"/>
                    </a:lnTo>
                    <a:lnTo>
                      <a:pt x="281" y="78"/>
                    </a:lnTo>
                    <a:lnTo>
                      <a:pt x="273" y="56"/>
                    </a:lnTo>
                    <a:lnTo>
                      <a:pt x="255" y="39"/>
                    </a:lnTo>
                    <a:lnTo>
                      <a:pt x="238" y="22"/>
                    </a:lnTo>
                    <a:lnTo>
                      <a:pt x="216" y="13"/>
                    </a:lnTo>
                    <a:lnTo>
                      <a:pt x="190" y="4"/>
                    </a:lnTo>
                    <a:lnTo>
                      <a:pt x="165" y="0"/>
                    </a:lnTo>
                    <a:lnTo>
                      <a:pt x="165" y="0"/>
                    </a:lnTo>
                    <a:close/>
                    <a:moveTo>
                      <a:pt x="134" y="95"/>
                    </a:moveTo>
                    <a:lnTo>
                      <a:pt x="134" y="95"/>
                    </a:lnTo>
                    <a:lnTo>
                      <a:pt x="121" y="99"/>
                    </a:lnTo>
                    <a:lnTo>
                      <a:pt x="117" y="104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7" y="112"/>
                    </a:lnTo>
                    <a:lnTo>
                      <a:pt x="121" y="117"/>
                    </a:lnTo>
                    <a:lnTo>
                      <a:pt x="134" y="121"/>
                    </a:lnTo>
                    <a:lnTo>
                      <a:pt x="134" y="121"/>
                    </a:lnTo>
                    <a:lnTo>
                      <a:pt x="147" y="125"/>
                    </a:lnTo>
                    <a:lnTo>
                      <a:pt x="152" y="125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2" y="134"/>
                    </a:lnTo>
                    <a:lnTo>
                      <a:pt x="147" y="138"/>
                    </a:lnTo>
                    <a:lnTo>
                      <a:pt x="134" y="143"/>
                    </a:lnTo>
                    <a:lnTo>
                      <a:pt x="134" y="143"/>
                    </a:lnTo>
                    <a:lnTo>
                      <a:pt x="126" y="143"/>
                    </a:lnTo>
                    <a:lnTo>
                      <a:pt x="121" y="147"/>
                    </a:lnTo>
                    <a:lnTo>
                      <a:pt x="117" y="156"/>
                    </a:lnTo>
                    <a:lnTo>
                      <a:pt x="113" y="164"/>
                    </a:lnTo>
                    <a:lnTo>
                      <a:pt x="113" y="164"/>
                    </a:lnTo>
                    <a:lnTo>
                      <a:pt x="108" y="182"/>
                    </a:lnTo>
                    <a:lnTo>
                      <a:pt x="104" y="186"/>
                    </a:lnTo>
                    <a:lnTo>
                      <a:pt x="100" y="186"/>
                    </a:lnTo>
                    <a:lnTo>
                      <a:pt x="100" y="186"/>
                    </a:lnTo>
                    <a:lnTo>
                      <a:pt x="95" y="186"/>
                    </a:lnTo>
                    <a:lnTo>
                      <a:pt x="91" y="177"/>
                    </a:lnTo>
                    <a:lnTo>
                      <a:pt x="87" y="156"/>
                    </a:lnTo>
                    <a:lnTo>
                      <a:pt x="87" y="104"/>
                    </a:lnTo>
                    <a:lnTo>
                      <a:pt x="87" y="104"/>
                    </a:lnTo>
                    <a:lnTo>
                      <a:pt x="91" y="95"/>
                    </a:lnTo>
                    <a:lnTo>
                      <a:pt x="95" y="82"/>
                    </a:lnTo>
                    <a:lnTo>
                      <a:pt x="108" y="78"/>
                    </a:lnTo>
                    <a:lnTo>
                      <a:pt x="121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47" y="78"/>
                    </a:lnTo>
                    <a:lnTo>
                      <a:pt x="156" y="82"/>
                    </a:lnTo>
                    <a:lnTo>
                      <a:pt x="156" y="87"/>
                    </a:lnTo>
                    <a:lnTo>
                      <a:pt x="156" y="87"/>
                    </a:lnTo>
                    <a:lnTo>
                      <a:pt x="156" y="91"/>
                    </a:lnTo>
                    <a:lnTo>
                      <a:pt x="152" y="91"/>
                    </a:lnTo>
                    <a:lnTo>
                      <a:pt x="134" y="95"/>
                    </a:lnTo>
                    <a:lnTo>
                      <a:pt x="134" y="95"/>
                    </a:lnTo>
                    <a:close/>
                    <a:moveTo>
                      <a:pt x="199" y="156"/>
                    </a:moveTo>
                    <a:lnTo>
                      <a:pt x="199" y="156"/>
                    </a:lnTo>
                    <a:lnTo>
                      <a:pt x="195" y="177"/>
                    </a:lnTo>
                    <a:lnTo>
                      <a:pt x="190" y="186"/>
                    </a:lnTo>
                    <a:lnTo>
                      <a:pt x="186" y="186"/>
                    </a:lnTo>
                    <a:lnTo>
                      <a:pt x="186" y="186"/>
                    </a:lnTo>
                    <a:lnTo>
                      <a:pt x="182" y="186"/>
                    </a:lnTo>
                    <a:lnTo>
                      <a:pt x="178" y="177"/>
                    </a:lnTo>
                    <a:lnTo>
                      <a:pt x="173" y="156"/>
                    </a:lnTo>
                    <a:lnTo>
                      <a:pt x="173" y="138"/>
                    </a:lnTo>
                    <a:lnTo>
                      <a:pt x="173" y="138"/>
                    </a:lnTo>
                    <a:lnTo>
                      <a:pt x="178" y="112"/>
                    </a:lnTo>
                    <a:lnTo>
                      <a:pt x="182" y="108"/>
                    </a:lnTo>
                    <a:lnTo>
                      <a:pt x="186" y="104"/>
                    </a:lnTo>
                    <a:lnTo>
                      <a:pt x="186" y="104"/>
                    </a:lnTo>
                    <a:lnTo>
                      <a:pt x="190" y="108"/>
                    </a:lnTo>
                    <a:lnTo>
                      <a:pt x="195" y="112"/>
                    </a:lnTo>
                    <a:lnTo>
                      <a:pt x="199" y="138"/>
                    </a:lnTo>
                    <a:lnTo>
                      <a:pt x="199" y="156"/>
                    </a:lnTo>
                    <a:close/>
                    <a:moveTo>
                      <a:pt x="186" y="95"/>
                    </a:moveTo>
                    <a:lnTo>
                      <a:pt x="186" y="95"/>
                    </a:lnTo>
                    <a:lnTo>
                      <a:pt x="178" y="91"/>
                    </a:lnTo>
                    <a:lnTo>
                      <a:pt x="173" y="82"/>
                    </a:lnTo>
                    <a:lnTo>
                      <a:pt x="173" y="82"/>
                    </a:lnTo>
                    <a:lnTo>
                      <a:pt x="178" y="74"/>
                    </a:lnTo>
                    <a:lnTo>
                      <a:pt x="186" y="69"/>
                    </a:lnTo>
                    <a:lnTo>
                      <a:pt x="186" y="69"/>
                    </a:lnTo>
                    <a:lnTo>
                      <a:pt x="195" y="74"/>
                    </a:lnTo>
                    <a:lnTo>
                      <a:pt x="199" y="82"/>
                    </a:lnTo>
                    <a:lnTo>
                      <a:pt x="199" y="82"/>
                    </a:lnTo>
                    <a:lnTo>
                      <a:pt x="195" y="91"/>
                    </a:lnTo>
                    <a:lnTo>
                      <a:pt x="186" y="95"/>
                    </a:lnTo>
                    <a:lnTo>
                      <a:pt x="186" y="9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4" name="Freeform 129"/>
              <p:cNvSpPr>
                <a:spLocks noEditPoints="1"/>
              </p:cNvSpPr>
              <p:nvPr/>
            </p:nvSpPr>
            <p:spPr bwMode="auto">
              <a:xfrm>
                <a:off x="16573500" y="5078412"/>
                <a:ext cx="474662" cy="404813"/>
              </a:xfrm>
              <a:custGeom>
                <a:avLst/>
                <a:gdLst/>
                <a:ahLst/>
                <a:cxnLst>
                  <a:cxn ang="0">
                    <a:pos x="282" y="112"/>
                  </a:cxn>
                  <a:cxn ang="0">
                    <a:pos x="290" y="30"/>
                  </a:cxn>
                  <a:cxn ang="0">
                    <a:pos x="130" y="0"/>
                  </a:cxn>
                  <a:cxn ang="0">
                    <a:pos x="78" y="13"/>
                  </a:cxn>
                  <a:cxn ang="0">
                    <a:pos x="22" y="56"/>
                  </a:cxn>
                  <a:cxn ang="0">
                    <a:pos x="0" y="130"/>
                  </a:cxn>
                  <a:cxn ang="0">
                    <a:pos x="13" y="177"/>
                  </a:cxn>
                  <a:cxn ang="0">
                    <a:pos x="57" y="234"/>
                  </a:cxn>
                  <a:cxn ang="0">
                    <a:pos x="130" y="255"/>
                  </a:cxn>
                  <a:cxn ang="0">
                    <a:pos x="234" y="255"/>
                  </a:cxn>
                  <a:cxn ang="0">
                    <a:pos x="264" y="216"/>
                  </a:cxn>
                  <a:cxn ang="0">
                    <a:pos x="282" y="138"/>
                  </a:cxn>
                  <a:cxn ang="0">
                    <a:pos x="282" y="134"/>
                  </a:cxn>
                  <a:cxn ang="0">
                    <a:pos x="191" y="156"/>
                  </a:cxn>
                  <a:cxn ang="0">
                    <a:pos x="169" y="186"/>
                  </a:cxn>
                  <a:cxn ang="0">
                    <a:pos x="156" y="182"/>
                  </a:cxn>
                  <a:cxn ang="0">
                    <a:pos x="139" y="117"/>
                  </a:cxn>
                  <a:cxn ang="0">
                    <a:pos x="139" y="104"/>
                  </a:cxn>
                  <a:cxn ang="0">
                    <a:pos x="130" y="138"/>
                  </a:cxn>
                  <a:cxn ang="0">
                    <a:pos x="117" y="177"/>
                  </a:cxn>
                  <a:cxn ang="0">
                    <a:pos x="109" y="186"/>
                  </a:cxn>
                  <a:cxn ang="0">
                    <a:pos x="87" y="156"/>
                  </a:cxn>
                  <a:cxn ang="0">
                    <a:pos x="74" y="82"/>
                  </a:cxn>
                  <a:cxn ang="0">
                    <a:pos x="78" y="74"/>
                  </a:cxn>
                  <a:cxn ang="0">
                    <a:pos x="96" y="99"/>
                  </a:cxn>
                  <a:cxn ang="0">
                    <a:pos x="109" y="147"/>
                  </a:cxn>
                  <a:cxn ang="0">
                    <a:pos x="113" y="134"/>
                  </a:cxn>
                  <a:cxn ang="0">
                    <a:pos x="122" y="104"/>
                  </a:cxn>
                  <a:cxn ang="0">
                    <a:pos x="135" y="78"/>
                  </a:cxn>
                  <a:cxn ang="0">
                    <a:pos x="143" y="78"/>
                  </a:cxn>
                  <a:cxn ang="0">
                    <a:pos x="156" y="99"/>
                  </a:cxn>
                  <a:cxn ang="0">
                    <a:pos x="169" y="160"/>
                  </a:cxn>
                  <a:cxn ang="0">
                    <a:pos x="173" y="134"/>
                  </a:cxn>
                  <a:cxn ang="0">
                    <a:pos x="178" y="104"/>
                  </a:cxn>
                  <a:cxn ang="0">
                    <a:pos x="199" y="74"/>
                  </a:cxn>
                  <a:cxn ang="0">
                    <a:pos x="204" y="82"/>
                  </a:cxn>
                  <a:cxn ang="0">
                    <a:pos x="243" y="156"/>
                  </a:cxn>
                  <a:cxn ang="0">
                    <a:pos x="238" y="186"/>
                  </a:cxn>
                  <a:cxn ang="0">
                    <a:pos x="225" y="186"/>
                  </a:cxn>
                  <a:cxn ang="0">
                    <a:pos x="217" y="138"/>
                  </a:cxn>
                  <a:cxn ang="0">
                    <a:pos x="225" y="108"/>
                  </a:cxn>
                  <a:cxn ang="0">
                    <a:pos x="238" y="108"/>
                  </a:cxn>
                  <a:cxn ang="0">
                    <a:pos x="243" y="156"/>
                  </a:cxn>
                  <a:cxn ang="0">
                    <a:pos x="221" y="91"/>
                  </a:cxn>
                  <a:cxn ang="0">
                    <a:pos x="221" y="74"/>
                  </a:cxn>
                  <a:cxn ang="0">
                    <a:pos x="243" y="74"/>
                  </a:cxn>
                  <a:cxn ang="0">
                    <a:pos x="243" y="91"/>
                  </a:cxn>
                </a:cxnLst>
                <a:rect l="0" t="0" r="r" b="b"/>
                <a:pathLst>
                  <a:path w="299" h="255">
                    <a:moveTo>
                      <a:pt x="282" y="134"/>
                    </a:moveTo>
                    <a:lnTo>
                      <a:pt x="282" y="134"/>
                    </a:lnTo>
                    <a:lnTo>
                      <a:pt x="282" y="112"/>
                    </a:lnTo>
                    <a:lnTo>
                      <a:pt x="282" y="112"/>
                    </a:lnTo>
                    <a:lnTo>
                      <a:pt x="282" y="65"/>
                    </a:lnTo>
                    <a:lnTo>
                      <a:pt x="290" y="30"/>
                    </a:lnTo>
                    <a:lnTo>
                      <a:pt x="290" y="30"/>
                    </a:lnTo>
                    <a:lnTo>
                      <a:pt x="299" y="0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04" y="4"/>
                    </a:lnTo>
                    <a:lnTo>
                      <a:pt x="78" y="13"/>
                    </a:lnTo>
                    <a:lnTo>
                      <a:pt x="57" y="22"/>
                    </a:lnTo>
                    <a:lnTo>
                      <a:pt x="39" y="39"/>
                    </a:lnTo>
                    <a:lnTo>
                      <a:pt x="22" y="56"/>
                    </a:lnTo>
                    <a:lnTo>
                      <a:pt x="13" y="78"/>
                    </a:lnTo>
                    <a:lnTo>
                      <a:pt x="5" y="104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56"/>
                    </a:lnTo>
                    <a:lnTo>
                      <a:pt x="13" y="177"/>
                    </a:lnTo>
                    <a:lnTo>
                      <a:pt x="22" y="199"/>
                    </a:lnTo>
                    <a:lnTo>
                      <a:pt x="39" y="221"/>
                    </a:lnTo>
                    <a:lnTo>
                      <a:pt x="57" y="234"/>
                    </a:lnTo>
                    <a:lnTo>
                      <a:pt x="78" y="247"/>
                    </a:lnTo>
                    <a:lnTo>
                      <a:pt x="104" y="255"/>
                    </a:lnTo>
                    <a:lnTo>
                      <a:pt x="130" y="255"/>
                    </a:lnTo>
                    <a:lnTo>
                      <a:pt x="230" y="255"/>
                    </a:lnTo>
                    <a:lnTo>
                      <a:pt x="234" y="255"/>
                    </a:lnTo>
                    <a:lnTo>
                      <a:pt x="234" y="255"/>
                    </a:lnTo>
                    <a:lnTo>
                      <a:pt x="251" y="234"/>
                    </a:lnTo>
                    <a:lnTo>
                      <a:pt x="251" y="234"/>
                    </a:lnTo>
                    <a:lnTo>
                      <a:pt x="264" y="216"/>
                    </a:lnTo>
                    <a:lnTo>
                      <a:pt x="273" y="195"/>
                    </a:lnTo>
                    <a:lnTo>
                      <a:pt x="277" y="169"/>
                    </a:lnTo>
                    <a:lnTo>
                      <a:pt x="282" y="138"/>
                    </a:lnTo>
                    <a:lnTo>
                      <a:pt x="282" y="138"/>
                    </a:lnTo>
                    <a:lnTo>
                      <a:pt x="282" y="134"/>
                    </a:lnTo>
                    <a:lnTo>
                      <a:pt x="282" y="134"/>
                    </a:lnTo>
                    <a:close/>
                    <a:moveTo>
                      <a:pt x="204" y="104"/>
                    </a:moveTo>
                    <a:lnTo>
                      <a:pt x="191" y="156"/>
                    </a:lnTo>
                    <a:lnTo>
                      <a:pt x="191" y="156"/>
                    </a:lnTo>
                    <a:lnTo>
                      <a:pt x="178" y="177"/>
                    </a:lnTo>
                    <a:lnTo>
                      <a:pt x="173" y="186"/>
                    </a:lnTo>
                    <a:lnTo>
                      <a:pt x="169" y="186"/>
                    </a:lnTo>
                    <a:lnTo>
                      <a:pt x="169" y="186"/>
                    </a:lnTo>
                    <a:lnTo>
                      <a:pt x="161" y="186"/>
                    </a:lnTo>
                    <a:lnTo>
                      <a:pt x="156" y="182"/>
                    </a:lnTo>
                    <a:lnTo>
                      <a:pt x="148" y="164"/>
                    </a:lnTo>
                    <a:lnTo>
                      <a:pt x="148" y="164"/>
                    </a:lnTo>
                    <a:lnTo>
                      <a:pt x="139" y="117"/>
                    </a:lnTo>
                    <a:lnTo>
                      <a:pt x="139" y="117"/>
                    </a:lnTo>
                    <a:lnTo>
                      <a:pt x="139" y="104"/>
                    </a:lnTo>
                    <a:lnTo>
                      <a:pt x="139" y="104"/>
                    </a:lnTo>
                    <a:lnTo>
                      <a:pt x="135" y="125"/>
                    </a:lnTo>
                    <a:lnTo>
                      <a:pt x="135" y="125"/>
                    </a:lnTo>
                    <a:lnTo>
                      <a:pt x="130" y="138"/>
                    </a:lnTo>
                    <a:lnTo>
                      <a:pt x="126" y="156"/>
                    </a:lnTo>
                    <a:lnTo>
                      <a:pt x="126" y="156"/>
                    </a:lnTo>
                    <a:lnTo>
                      <a:pt x="117" y="177"/>
                    </a:lnTo>
                    <a:lnTo>
                      <a:pt x="113" y="186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0" y="186"/>
                    </a:lnTo>
                    <a:lnTo>
                      <a:pt x="96" y="177"/>
                    </a:lnTo>
                    <a:lnTo>
                      <a:pt x="87" y="156"/>
                    </a:lnTo>
                    <a:lnTo>
                      <a:pt x="74" y="104"/>
                    </a:lnTo>
                    <a:lnTo>
                      <a:pt x="74" y="104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7" y="78"/>
                    </a:lnTo>
                    <a:lnTo>
                      <a:pt x="91" y="82"/>
                    </a:lnTo>
                    <a:lnTo>
                      <a:pt x="96" y="99"/>
                    </a:lnTo>
                    <a:lnTo>
                      <a:pt x="96" y="99"/>
                    </a:lnTo>
                    <a:lnTo>
                      <a:pt x="109" y="147"/>
                    </a:lnTo>
                    <a:lnTo>
                      <a:pt x="109" y="147"/>
                    </a:lnTo>
                    <a:lnTo>
                      <a:pt x="109" y="160"/>
                    </a:lnTo>
                    <a:lnTo>
                      <a:pt x="109" y="160"/>
                    </a:lnTo>
                    <a:lnTo>
                      <a:pt x="113" y="134"/>
                    </a:lnTo>
                    <a:lnTo>
                      <a:pt x="113" y="134"/>
                    </a:lnTo>
                    <a:lnTo>
                      <a:pt x="117" y="121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30" y="82"/>
                    </a:lnTo>
                    <a:lnTo>
                      <a:pt x="135" y="78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43" y="78"/>
                    </a:lnTo>
                    <a:lnTo>
                      <a:pt x="152" y="82"/>
                    </a:lnTo>
                    <a:lnTo>
                      <a:pt x="156" y="99"/>
                    </a:lnTo>
                    <a:lnTo>
                      <a:pt x="156" y="99"/>
                    </a:lnTo>
                    <a:lnTo>
                      <a:pt x="165" y="147"/>
                    </a:lnTo>
                    <a:lnTo>
                      <a:pt x="165" y="147"/>
                    </a:lnTo>
                    <a:lnTo>
                      <a:pt x="169" y="160"/>
                    </a:lnTo>
                    <a:lnTo>
                      <a:pt x="169" y="160"/>
                    </a:lnTo>
                    <a:lnTo>
                      <a:pt x="173" y="134"/>
                    </a:lnTo>
                    <a:lnTo>
                      <a:pt x="173" y="134"/>
                    </a:lnTo>
                    <a:lnTo>
                      <a:pt x="173" y="121"/>
                    </a:lnTo>
                    <a:lnTo>
                      <a:pt x="178" y="104"/>
                    </a:lnTo>
                    <a:lnTo>
                      <a:pt x="178" y="104"/>
                    </a:lnTo>
                    <a:lnTo>
                      <a:pt x="186" y="82"/>
                    </a:lnTo>
                    <a:lnTo>
                      <a:pt x="191" y="78"/>
                    </a:lnTo>
                    <a:lnTo>
                      <a:pt x="199" y="74"/>
                    </a:lnTo>
                    <a:lnTo>
                      <a:pt x="199" y="74"/>
                    </a:lnTo>
                    <a:lnTo>
                      <a:pt x="204" y="78"/>
                    </a:lnTo>
                    <a:lnTo>
                      <a:pt x="204" y="82"/>
                    </a:lnTo>
                    <a:lnTo>
                      <a:pt x="204" y="104"/>
                    </a:lnTo>
                    <a:lnTo>
                      <a:pt x="204" y="104"/>
                    </a:lnTo>
                    <a:close/>
                    <a:moveTo>
                      <a:pt x="243" y="156"/>
                    </a:moveTo>
                    <a:lnTo>
                      <a:pt x="243" y="156"/>
                    </a:lnTo>
                    <a:lnTo>
                      <a:pt x="238" y="177"/>
                    </a:lnTo>
                    <a:lnTo>
                      <a:pt x="238" y="186"/>
                    </a:lnTo>
                    <a:lnTo>
                      <a:pt x="230" y="186"/>
                    </a:lnTo>
                    <a:lnTo>
                      <a:pt x="230" y="186"/>
                    </a:lnTo>
                    <a:lnTo>
                      <a:pt x="225" y="186"/>
                    </a:lnTo>
                    <a:lnTo>
                      <a:pt x="221" y="177"/>
                    </a:lnTo>
                    <a:lnTo>
                      <a:pt x="217" y="156"/>
                    </a:lnTo>
                    <a:lnTo>
                      <a:pt x="217" y="138"/>
                    </a:lnTo>
                    <a:lnTo>
                      <a:pt x="217" y="138"/>
                    </a:lnTo>
                    <a:lnTo>
                      <a:pt x="221" y="112"/>
                    </a:lnTo>
                    <a:lnTo>
                      <a:pt x="225" y="108"/>
                    </a:lnTo>
                    <a:lnTo>
                      <a:pt x="230" y="104"/>
                    </a:lnTo>
                    <a:lnTo>
                      <a:pt x="230" y="104"/>
                    </a:lnTo>
                    <a:lnTo>
                      <a:pt x="238" y="108"/>
                    </a:lnTo>
                    <a:lnTo>
                      <a:pt x="238" y="112"/>
                    </a:lnTo>
                    <a:lnTo>
                      <a:pt x="243" y="138"/>
                    </a:lnTo>
                    <a:lnTo>
                      <a:pt x="243" y="156"/>
                    </a:lnTo>
                    <a:close/>
                    <a:moveTo>
                      <a:pt x="230" y="95"/>
                    </a:moveTo>
                    <a:lnTo>
                      <a:pt x="230" y="95"/>
                    </a:lnTo>
                    <a:lnTo>
                      <a:pt x="221" y="91"/>
                    </a:lnTo>
                    <a:lnTo>
                      <a:pt x="217" y="82"/>
                    </a:lnTo>
                    <a:lnTo>
                      <a:pt x="217" y="82"/>
                    </a:lnTo>
                    <a:lnTo>
                      <a:pt x="221" y="74"/>
                    </a:lnTo>
                    <a:lnTo>
                      <a:pt x="230" y="69"/>
                    </a:lnTo>
                    <a:lnTo>
                      <a:pt x="230" y="69"/>
                    </a:lnTo>
                    <a:lnTo>
                      <a:pt x="243" y="74"/>
                    </a:lnTo>
                    <a:lnTo>
                      <a:pt x="247" y="82"/>
                    </a:lnTo>
                    <a:lnTo>
                      <a:pt x="247" y="82"/>
                    </a:lnTo>
                    <a:lnTo>
                      <a:pt x="243" y="91"/>
                    </a:lnTo>
                    <a:lnTo>
                      <a:pt x="230" y="95"/>
                    </a:lnTo>
                    <a:lnTo>
                      <a:pt x="230" y="9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25" name="标题 1"/>
          <p:cNvSpPr txBox="1">
            <a:spLocks/>
          </p:cNvSpPr>
          <p:nvPr/>
        </p:nvSpPr>
        <p:spPr>
          <a:xfrm>
            <a:off x="244872" y="585960"/>
            <a:ext cx="11132497" cy="684032"/>
          </a:xfrm>
          <a:prstGeom prst="rect">
            <a:avLst/>
          </a:prstGeom>
        </p:spPr>
        <p:txBody>
          <a:bodyPr vert="horz" lIns="91415" tIns="45708" rIns="91415" bIns="45708" rtlCol="0" anchor="ctr">
            <a:noAutofit/>
          </a:bodyPr>
          <a:lstStyle>
            <a:defPPr>
              <a:defRPr lang="en-US"/>
            </a:defPPr>
            <a:lvl1pPr defTabSz="1219200">
              <a:lnSpc>
                <a:spcPct val="90000"/>
              </a:lnSpc>
              <a:spcBef>
                <a:spcPct val="0"/>
              </a:spcBef>
              <a:buNone/>
              <a:defRPr sz="24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培训项目分类</a:t>
            </a:r>
          </a:p>
        </p:txBody>
      </p:sp>
    </p:spTree>
    <p:extLst>
      <p:ext uri="{BB962C8B-B14F-4D97-AF65-F5344CB8AC3E}">
        <p14:creationId xmlns:p14="http://schemas.microsoft.com/office/powerpoint/2010/main" val="3536935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SUBSTITUTION_ID" val="{3FEEF855-4E2D-42A7-AA19-768DA1319C2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SUBSTITUTION_ID" val="{3FEEF855-4E2D-42A7-AA19-768DA1319C2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SUBSTITUTION_ID" val="{3FEEF855-4E2D-42A7-AA19-768DA1319C2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SUBSTITUTION_ID" val="{3FEEF855-4E2D-42A7-AA19-768DA1319C2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adshows-6">
  <a:themeElements>
    <a:clrScheme name="SA-CN">
      <a:dk1>
        <a:sysClr val="windowText" lastClr="000000"/>
      </a:dk1>
      <a:lt1>
        <a:sysClr val="window" lastClr="FFFFFF"/>
      </a:lt1>
      <a:dk2>
        <a:srgbClr val="173B73"/>
      </a:dk2>
      <a:lt2>
        <a:srgbClr val="70C356"/>
      </a:lt2>
      <a:accent1>
        <a:srgbClr val="24BEBC"/>
      </a:accent1>
      <a:accent2>
        <a:srgbClr val="DE2910"/>
      </a:accent2>
      <a:accent3>
        <a:srgbClr val="FFDE00"/>
      </a:accent3>
      <a:accent4>
        <a:srgbClr val="9EA3A6"/>
      </a:accent4>
      <a:accent5>
        <a:srgbClr val="6B350F"/>
      </a:accent5>
      <a:accent6>
        <a:srgbClr val="DF7D0A"/>
      </a:accent6>
      <a:hlink>
        <a:srgbClr val="173B73"/>
      </a:hlink>
      <a:folHlink>
        <a:srgbClr val="C00000"/>
      </a:folHlink>
    </a:clrScheme>
    <a:fontScheme name="RC+ 2030">
      <a:majorFont>
        <a:latin typeface="Trebuchet MS"/>
        <a:ea typeface=""/>
        <a:cs typeface="Verdana"/>
      </a:majorFont>
      <a:minorFont>
        <a:latin typeface="Arial"/>
        <a:ea typeface=""/>
        <a:cs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oadshows-6">
  <a:themeElements>
    <a:clrScheme name="SA-CN">
      <a:dk1>
        <a:sysClr val="windowText" lastClr="000000"/>
      </a:dk1>
      <a:lt1>
        <a:sysClr val="window" lastClr="FFFFFF"/>
      </a:lt1>
      <a:dk2>
        <a:srgbClr val="173B73"/>
      </a:dk2>
      <a:lt2>
        <a:srgbClr val="70C356"/>
      </a:lt2>
      <a:accent1>
        <a:srgbClr val="24BEBC"/>
      </a:accent1>
      <a:accent2>
        <a:srgbClr val="DE2910"/>
      </a:accent2>
      <a:accent3>
        <a:srgbClr val="FFDE00"/>
      </a:accent3>
      <a:accent4>
        <a:srgbClr val="9EA3A6"/>
      </a:accent4>
      <a:accent5>
        <a:srgbClr val="6B350F"/>
      </a:accent5>
      <a:accent6>
        <a:srgbClr val="DF7D0A"/>
      </a:accent6>
      <a:hlink>
        <a:srgbClr val="173B73"/>
      </a:hlink>
      <a:folHlink>
        <a:srgbClr val="C00000"/>
      </a:folHlink>
    </a:clrScheme>
    <a:fontScheme name="RC+ 2030">
      <a:majorFont>
        <a:latin typeface="Trebuchet MS"/>
        <a:ea typeface="SimSun"/>
        <a:cs typeface="Verdana"/>
      </a:majorFont>
      <a:minorFont>
        <a:latin typeface="Arial"/>
        <a:ea typeface="SimSun"/>
        <a:cs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055</TotalTime>
  <Words>1442</Words>
  <Application>Microsoft Office PowerPoint</Application>
  <PresentationFormat>全屏显示(16:9)</PresentationFormat>
  <Paragraphs>242</Paragraphs>
  <Slides>13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3" baseType="lpstr">
      <vt:lpstr>Arvo</vt:lpstr>
      <vt:lpstr>微软雅黑</vt:lpstr>
      <vt:lpstr>Arial</vt:lpstr>
      <vt:lpstr>Calibri</vt:lpstr>
      <vt:lpstr>Sakkal Majalla</vt:lpstr>
      <vt:lpstr>Trebuchet MS</vt:lpstr>
      <vt:lpstr>Wingdings</vt:lpstr>
      <vt:lpstr>roadshows-6</vt:lpstr>
      <vt:lpstr>1_roadshows-6</vt:lpstr>
      <vt:lpstr>think-cell Slide</vt:lpstr>
      <vt:lpstr>智慧城市人才计划使能智慧城市建设</vt:lpstr>
      <vt:lpstr>PowerPoint 演示文稿</vt:lpstr>
      <vt:lpstr>PowerPoint 演示文稿</vt:lpstr>
      <vt:lpstr>PowerPoint 演示文稿</vt:lpstr>
      <vt:lpstr>挑战=机会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C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ouk Ouazene</dc:creator>
  <cp:lastModifiedBy>雷 吕</cp:lastModifiedBy>
  <cp:revision>468</cp:revision>
  <cp:lastPrinted>2018-11-11T04:21:56Z</cp:lastPrinted>
  <dcterms:created xsi:type="dcterms:W3CDTF">2017-08-02T19:23:23Z</dcterms:created>
  <dcterms:modified xsi:type="dcterms:W3CDTF">2019-04-10T00:0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SqwMaNmohjsT3zCWGie8zhzL8PuzoqKXrkDohyTFnsBNTmuoF6tdwsyWJpAcv0NVdizQHaUy
5GYWMFBbGi5Nog+Vr90mroGC2XeCy+Lct/b+UA4LBV6Fds3R8nbf5BMf8GuaisRj3qlq2/XC
c5bn7b7WFk6F1WI1qY4YRu2JZ3MMLwmolkgabIOjOiqq3wTj8JjNi5/ameyapJPqzjXHNd2f
mxUFY2jkD5T5wfK/qp</vt:lpwstr>
  </property>
  <property fmtid="{D5CDD505-2E9C-101B-9397-08002B2CF9AE}" pid="3" name="_2015_ms_pID_7253431">
    <vt:lpwstr>UQFt99ypxaf812TNwncDrd23ZvI2XPzEcL3xm1w0cxjXkM1NRxCtpF
IqOQipuS7pxpmjI8B1sc80gUKN60a9PrU5o9oPMrm6k8rfmQ+NBMgG4Z/THC7wzB9hzLb5NI
RbEFT6QVLZmYAt/IvFxERWXwg/DzClHEPAMCJP3+gsWpwFVSeZ1N4FQmvi/w6ccrf33uXswg
ljJuTy1DFLASDsDnNURNg6NaMhDRJ+P5kOVq</vt:lpwstr>
  </property>
  <property fmtid="{D5CDD505-2E9C-101B-9397-08002B2CF9AE}" pid="4" name="_2015_ms_pID_7253432">
    <vt:lpwstr>7A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54513164</vt:lpwstr>
  </property>
</Properties>
</file>